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17"/>
  </p:notesMasterIdLst>
  <p:sldIdLst>
    <p:sldId id="429" r:id="rId6"/>
    <p:sldId id="448" r:id="rId7"/>
    <p:sldId id="354" r:id="rId8"/>
    <p:sldId id="356" r:id="rId9"/>
    <p:sldId id="359" r:id="rId10"/>
    <p:sldId id="425" r:id="rId11"/>
    <p:sldId id="470" r:id="rId12"/>
    <p:sldId id="471" r:id="rId13"/>
    <p:sldId id="433" r:id="rId14"/>
    <p:sldId id="462" r:id="rId15"/>
    <p:sldId id="440"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A0"/>
    <a:srgbClr val="8FE2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82E73C-5318-41A1-8B1F-29BDEA21812E}" v="1" dt="2024-01-30T12:47:50.777"/>
    <p1510:client id="{F1F4EA45-BD91-4BC6-B6B8-94BB7E972346}" v="11" dt="2024-01-30T11:27:29.49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colm McNally" userId="d6d16fc4-2757-49a2-bc88-7cba588af59c" providerId="ADAL" clId="{5782E73C-5318-41A1-8B1F-29BDEA21812E}"/>
    <pc:docChg chg="custSel modSld">
      <pc:chgData name="Malcolm McNally" userId="d6d16fc4-2757-49a2-bc88-7cba588af59c" providerId="ADAL" clId="{5782E73C-5318-41A1-8B1F-29BDEA21812E}" dt="2024-01-30T12:47:50.777" v="360"/>
      <pc:docMkLst>
        <pc:docMk/>
      </pc:docMkLst>
      <pc:sldChg chg="modSp mod">
        <pc:chgData name="Malcolm McNally" userId="d6d16fc4-2757-49a2-bc88-7cba588af59c" providerId="ADAL" clId="{5782E73C-5318-41A1-8B1F-29BDEA21812E}" dt="2024-01-30T12:44:51.144" v="313" actId="13926"/>
        <pc:sldMkLst>
          <pc:docMk/>
          <pc:sldMk cId="337497905" sldId="354"/>
        </pc:sldMkLst>
        <pc:spChg chg="mod">
          <ac:chgData name="Malcolm McNally" userId="d6d16fc4-2757-49a2-bc88-7cba588af59c" providerId="ADAL" clId="{5782E73C-5318-41A1-8B1F-29BDEA21812E}" dt="2024-01-30T12:44:51.144" v="313" actId="13926"/>
          <ac:spMkLst>
            <pc:docMk/>
            <pc:sldMk cId="337497905" sldId="354"/>
            <ac:spMk id="6" creationId="{0493AB1A-7EFD-4891-AD93-166B70A60DED}"/>
          </ac:spMkLst>
        </pc:spChg>
      </pc:sldChg>
      <pc:sldChg chg="modSp mod">
        <pc:chgData name="Malcolm McNally" userId="d6d16fc4-2757-49a2-bc88-7cba588af59c" providerId="ADAL" clId="{5782E73C-5318-41A1-8B1F-29BDEA21812E}" dt="2024-01-02T08:33:48.246" v="16" actId="13926"/>
        <pc:sldMkLst>
          <pc:docMk/>
          <pc:sldMk cId="2086894" sldId="355"/>
        </pc:sldMkLst>
        <pc:spChg chg="mod">
          <ac:chgData name="Malcolm McNally" userId="d6d16fc4-2757-49a2-bc88-7cba588af59c" providerId="ADAL" clId="{5782E73C-5318-41A1-8B1F-29BDEA21812E}" dt="2024-01-02T08:33:48.246" v="16" actId="13926"/>
          <ac:spMkLst>
            <pc:docMk/>
            <pc:sldMk cId="2086894" sldId="355"/>
            <ac:spMk id="8" creationId="{8C943528-D2F0-4EB3-98B7-E1CF583A3AC6}"/>
          </ac:spMkLst>
        </pc:spChg>
      </pc:sldChg>
      <pc:sldChg chg="modSp mod">
        <pc:chgData name="Malcolm McNally" userId="d6d16fc4-2757-49a2-bc88-7cba588af59c" providerId="ADAL" clId="{5782E73C-5318-41A1-8B1F-29BDEA21812E}" dt="2024-01-30T12:44:59.007" v="314" actId="13926"/>
        <pc:sldMkLst>
          <pc:docMk/>
          <pc:sldMk cId="1174608928" sldId="356"/>
        </pc:sldMkLst>
        <pc:spChg chg="mod">
          <ac:chgData name="Malcolm McNally" userId="d6d16fc4-2757-49a2-bc88-7cba588af59c" providerId="ADAL" clId="{5782E73C-5318-41A1-8B1F-29BDEA21812E}" dt="2024-01-30T12:44:59.007" v="314" actId="13926"/>
          <ac:spMkLst>
            <pc:docMk/>
            <pc:sldMk cId="1174608928" sldId="356"/>
            <ac:spMk id="7" creationId="{2596665D-7B3F-4938-B596-887647BDF5BD}"/>
          </ac:spMkLst>
        </pc:spChg>
      </pc:sldChg>
      <pc:sldChg chg="modSp mod">
        <pc:chgData name="Malcolm McNally" userId="d6d16fc4-2757-49a2-bc88-7cba588af59c" providerId="ADAL" clId="{5782E73C-5318-41A1-8B1F-29BDEA21812E}" dt="2024-01-30T12:45:05.799" v="315" actId="13926"/>
        <pc:sldMkLst>
          <pc:docMk/>
          <pc:sldMk cId="2012504727" sldId="359"/>
        </pc:sldMkLst>
        <pc:spChg chg="mod">
          <ac:chgData name="Malcolm McNally" userId="d6d16fc4-2757-49a2-bc88-7cba588af59c" providerId="ADAL" clId="{5782E73C-5318-41A1-8B1F-29BDEA21812E}" dt="2024-01-30T12:45:05.799" v="315" actId="13926"/>
          <ac:spMkLst>
            <pc:docMk/>
            <pc:sldMk cId="2012504727" sldId="359"/>
            <ac:spMk id="8" creationId="{8C943528-D2F0-4EB3-98B7-E1CF583A3AC6}"/>
          </ac:spMkLst>
        </pc:spChg>
      </pc:sldChg>
      <pc:sldChg chg="modSp mod">
        <pc:chgData name="Malcolm McNally" userId="d6d16fc4-2757-49a2-bc88-7cba588af59c" providerId="ADAL" clId="{5782E73C-5318-41A1-8B1F-29BDEA21812E}" dt="2024-01-30T12:45:14.589" v="316" actId="13926"/>
        <pc:sldMkLst>
          <pc:docMk/>
          <pc:sldMk cId="2754349945" sldId="425"/>
        </pc:sldMkLst>
        <pc:spChg chg="mod">
          <ac:chgData name="Malcolm McNally" userId="d6d16fc4-2757-49a2-bc88-7cba588af59c" providerId="ADAL" clId="{5782E73C-5318-41A1-8B1F-29BDEA21812E}" dt="2024-01-30T12:45:14.589" v="316" actId="13926"/>
          <ac:spMkLst>
            <pc:docMk/>
            <pc:sldMk cId="2754349945" sldId="425"/>
            <ac:spMk id="8" creationId="{8C943528-D2F0-4EB3-98B7-E1CF583A3AC6}"/>
          </ac:spMkLst>
        </pc:spChg>
      </pc:sldChg>
      <pc:sldChg chg="modSp mod">
        <pc:chgData name="Malcolm McNally" userId="d6d16fc4-2757-49a2-bc88-7cba588af59c" providerId="ADAL" clId="{5782E73C-5318-41A1-8B1F-29BDEA21812E}" dt="2024-01-02T08:33:21.030" v="12" actId="6549"/>
        <pc:sldMkLst>
          <pc:docMk/>
          <pc:sldMk cId="3808815108" sldId="429"/>
        </pc:sldMkLst>
        <pc:spChg chg="mod">
          <ac:chgData name="Malcolm McNally" userId="d6d16fc4-2757-49a2-bc88-7cba588af59c" providerId="ADAL" clId="{5782E73C-5318-41A1-8B1F-29BDEA21812E}" dt="2024-01-02T08:33:21.030" v="12" actId="6549"/>
          <ac:spMkLst>
            <pc:docMk/>
            <pc:sldMk cId="3808815108" sldId="429"/>
            <ac:spMk id="3" creationId="{F4BE97F2-D04C-40C5-ABA8-AB91090DF792}"/>
          </ac:spMkLst>
        </pc:spChg>
      </pc:sldChg>
      <pc:sldChg chg="modSp mod">
        <pc:chgData name="Malcolm McNally" userId="d6d16fc4-2757-49a2-bc88-7cba588af59c" providerId="ADAL" clId="{5782E73C-5318-41A1-8B1F-29BDEA21812E}" dt="2024-01-30T12:47:50.777" v="360"/>
        <pc:sldMkLst>
          <pc:docMk/>
          <pc:sldMk cId="3929206466" sldId="471"/>
        </pc:sldMkLst>
        <pc:graphicFrameChg chg="mod modGraphic">
          <ac:chgData name="Malcolm McNally" userId="d6d16fc4-2757-49a2-bc88-7cba588af59c" providerId="ADAL" clId="{5782E73C-5318-41A1-8B1F-29BDEA21812E}" dt="2024-01-30T12:47:50.777" v="360"/>
          <ac:graphicFrameMkLst>
            <pc:docMk/>
            <pc:sldMk cId="3929206466" sldId="471"/>
            <ac:graphicFrameMk id="5" creationId="{3271ADBE-3868-0D73-53CD-BCA4EBB272D1}"/>
          </ac:graphicFrameMkLst>
        </pc:graphicFrameChg>
      </pc:sldChg>
    </pc:docChg>
  </pc:docChgLst>
  <pc:docChgLst>
    <pc:chgData name="Joy Oforka" userId="e57aed7b-39d1-4dda-bc78-462b9805eb1c" providerId="ADAL" clId="{F1F4EA45-BD91-4BC6-B6B8-94BB7E972346}"/>
    <pc:docChg chg="undo custSel addSld delSld modSld">
      <pc:chgData name="Joy Oforka" userId="e57aed7b-39d1-4dda-bc78-462b9805eb1c" providerId="ADAL" clId="{F1F4EA45-BD91-4BC6-B6B8-94BB7E972346}" dt="2024-01-30T12:13:40.965" v="1194" actId="20577"/>
      <pc:docMkLst>
        <pc:docMk/>
      </pc:docMkLst>
      <pc:sldChg chg="modSp mod modNotesTx">
        <pc:chgData name="Joy Oforka" userId="e57aed7b-39d1-4dda-bc78-462b9805eb1c" providerId="ADAL" clId="{F1F4EA45-BD91-4BC6-B6B8-94BB7E972346}" dt="2024-01-30T11:44:47.113" v="568" actId="20577"/>
        <pc:sldMkLst>
          <pc:docMk/>
          <pc:sldMk cId="337497905" sldId="354"/>
        </pc:sldMkLst>
        <pc:spChg chg="mod">
          <ac:chgData name="Joy Oforka" userId="e57aed7b-39d1-4dda-bc78-462b9805eb1c" providerId="ADAL" clId="{F1F4EA45-BD91-4BC6-B6B8-94BB7E972346}" dt="2024-01-30T11:43:50.112" v="440" actId="20577"/>
          <ac:spMkLst>
            <pc:docMk/>
            <pc:sldMk cId="337497905" sldId="354"/>
            <ac:spMk id="6" creationId="{0493AB1A-7EFD-4891-AD93-166B70A60DED}"/>
          </ac:spMkLst>
        </pc:spChg>
        <pc:picChg chg="mod">
          <ac:chgData name="Joy Oforka" userId="e57aed7b-39d1-4dda-bc78-462b9805eb1c" providerId="ADAL" clId="{F1F4EA45-BD91-4BC6-B6B8-94BB7E972346}" dt="2024-01-30T11:16:25.740" v="6" actId="14826"/>
          <ac:picMkLst>
            <pc:docMk/>
            <pc:sldMk cId="337497905" sldId="354"/>
            <ac:picMk id="3" creationId="{5184ED7E-7CF5-47CD-208F-3F9A26937ABA}"/>
          </ac:picMkLst>
        </pc:picChg>
      </pc:sldChg>
      <pc:sldChg chg="del">
        <pc:chgData name="Joy Oforka" userId="e57aed7b-39d1-4dda-bc78-462b9805eb1c" providerId="ADAL" clId="{F1F4EA45-BD91-4BC6-B6B8-94BB7E972346}" dt="2024-01-30T12:09:41.776" v="1100" actId="47"/>
        <pc:sldMkLst>
          <pc:docMk/>
          <pc:sldMk cId="2086894" sldId="355"/>
        </pc:sldMkLst>
      </pc:sldChg>
      <pc:sldChg chg="modSp mod modNotesTx">
        <pc:chgData name="Joy Oforka" userId="e57aed7b-39d1-4dda-bc78-462b9805eb1c" providerId="ADAL" clId="{F1F4EA45-BD91-4BC6-B6B8-94BB7E972346}" dt="2024-01-30T12:10:49.948" v="1111" actId="20577"/>
        <pc:sldMkLst>
          <pc:docMk/>
          <pc:sldMk cId="1174608928" sldId="356"/>
        </pc:sldMkLst>
        <pc:spChg chg="mod">
          <ac:chgData name="Joy Oforka" userId="e57aed7b-39d1-4dda-bc78-462b9805eb1c" providerId="ADAL" clId="{F1F4EA45-BD91-4BC6-B6B8-94BB7E972346}" dt="2024-01-30T12:10:49.948" v="1111" actId="20577"/>
          <ac:spMkLst>
            <pc:docMk/>
            <pc:sldMk cId="1174608928" sldId="356"/>
            <ac:spMk id="7" creationId="{2596665D-7B3F-4938-B596-887647BDF5BD}"/>
          </ac:spMkLst>
        </pc:spChg>
        <pc:picChg chg="mod">
          <ac:chgData name="Joy Oforka" userId="e57aed7b-39d1-4dda-bc78-462b9805eb1c" providerId="ADAL" clId="{F1F4EA45-BD91-4BC6-B6B8-94BB7E972346}" dt="2024-01-30T12:02:12.126" v="896" actId="14826"/>
          <ac:picMkLst>
            <pc:docMk/>
            <pc:sldMk cId="1174608928" sldId="356"/>
            <ac:picMk id="2" creationId="{8AB7D710-0292-1BA6-0573-72D14F85661C}"/>
          </ac:picMkLst>
        </pc:picChg>
      </pc:sldChg>
      <pc:sldChg chg="modSp mod">
        <pc:chgData name="Joy Oforka" userId="e57aed7b-39d1-4dda-bc78-462b9805eb1c" providerId="ADAL" clId="{F1F4EA45-BD91-4BC6-B6B8-94BB7E972346}" dt="2024-01-30T12:06:46.230" v="1039" actId="20577"/>
        <pc:sldMkLst>
          <pc:docMk/>
          <pc:sldMk cId="2012504727" sldId="359"/>
        </pc:sldMkLst>
        <pc:spChg chg="mod">
          <ac:chgData name="Joy Oforka" userId="e57aed7b-39d1-4dda-bc78-462b9805eb1c" providerId="ADAL" clId="{F1F4EA45-BD91-4BC6-B6B8-94BB7E972346}" dt="2024-01-30T12:06:46.230" v="1039" actId="20577"/>
          <ac:spMkLst>
            <pc:docMk/>
            <pc:sldMk cId="2012504727" sldId="359"/>
            <ac:spMk id="8" creationId="{8C943528-D2F0-4EB3-98B7-E1CF583A3AC6}"/>
          </ac:spMkLst>
        </pc:spChg>
        <pc:picChg chg="mod">
          <ac:chgData name="Joy Oforka" userId="e57aed7b-39d1-4dda-bc78-462b9805eb1c" providerId="ADAL" clId="{F1F4EA45-BD91-4BC6-B6B8-94BB7E972346}" dt="2024-01-30T12:02:42.375" v="905" actId="14826"/>
          <ac:picMkLst>
            <pc:docMk/>
            <pc:sldMk cId="2012504727" sldId="359"/>
            <ac:picMk id="2" creationId="{3DE9AEC0-D028-2587-6DCA-19CC460524AD}"/>
          </ac:picMkLst>
        </pc:picChg>
      </pc:sldChg>
      <pc:sldChg chg="modSp mod">
        <pc:chgData name="Joy Oforka" userId="e57aed7b-39d1-4dda-bc78-462b9805eb1c" providerId="ADAL" clId="{F1F4EA45-BD91-4BC6-B6B8-94BB7E972346}" dt="2024-01-30T12:13:40.965" v="1194" actId="20577"/>
        <pc:sldMkLst>
          <pc:docMk/>
          <pc:sldMk cId="2754349945" sldId="425"/>
        </pc:sldMkLst>
        <pc:spChg chg="mod">
          <ac:chgData name="Joy Oforka" userId="e57aed7b-39d1-4dda-bc78-462b9805eb1c" providerId="ADAL" clId="{F1F4EA45-BD91-4BC6-B6B8-94BB7E972346}" dt="2024-01-30T12:13:40.965" v="1194" actId="20577"/>
          <ac:spMkLst>
            <pc:docMk/>
            <pc:sldMk cId="2754349945" sldId="425"/>
            <ac:spMk id="8" creationId="{8C943528-D2F0-4EB3-98B7-E1CF583A3AC6}"/>
          </ac:spMkLst>
        </pc:spChg>
        <pc:picChg chg="mod">
          <ac:chgData name="Joy Oforka" userId="e57aed7b-39d1-4dda-bc78-462b9805eb1c" providerId="ADAL" clId="{F1F4EA45-BD91-4BC6-B6B8-94BB7E972346}" dt="2024-01-30T11:18:59.168" v="9" actId="14826"/>
          <ac:picMkLst>
            <pc:docMk/>
            <pc:sldMk cId="2754349945" sldId="425"/>
            <ac:picMk id="6" creationId="{1FB2C8CC-7825-44B2-9068-80856164ED6B}"/>
          </ac:picMkLst>
        </pc:picChg>
      </pc:sldChg>
      <pc:sldChg chg="modSp">
        <pc:chgData name="Joy Oforka" userId="e57aed7b-39d1-4dda-bc78-462b9805eb1c" providerId="ADAL" clId="{F1F4EA45-BD91-4BC6-B6B8-94BB7E972346}" dt="2024-01-30T11:27:29.491" v="12" actId="207"/>
        <pc:sldMkLst>
          <pc:docMk/>
          <pc:sldMk cId="4137967765" sldId="448"/>
        </pc:sldMkLst>
        <pc:spChg chg="mod">
          <ac:chgData name="Joy Oforka" userId="e57aed7b-39d1-4dda-bc78-462b9805eb1c" providerId="ADAL" clId="{F1F4EA45-BD91-4BC6-B6B8-94BB7E972346}" dt="2024-01-30T11:03:08.912" v="5" actId="1076"/>
          <ac:spMkLst>
            <pc:docMk/>
            <pc:sldMk cId="4137967765" sldId="448"/>
            <ac:spMk id="20" creationId="{1587FC52-56C9-73FB-7E39-A6ECD3BF4E65}"/>
          </ac:spMkLst>
        </pc:spChg>
        <pc:spChg chg="mod">
          <ac:chgData name="Joy Oforka" userId="e57aed7b-39d1-4dda-bc78-462b9805eb1c" providerId="ADAL" clId="{F1F4EA45-BD91-4BC6-B6B8-94BB7E972346}" dt="2024-01-30T11:03:08.912" v="5" actId="1076"/>
          <ac:spMkLst>
            <pc:docMk/>
            <pc:sldMk cId="4137967765" sldId="448"/>
            <ac:spMk id="21" creationId="{22A4D728-E3D0-94DC-939C-81F70D1EA96C}"/>
          </ac:spMkLst>
        </pc:spChg>
        <pc:spChg chg="mod">
          <ac:chgData name="Joy Oforka" userId="e57aed7b-39d1-4dda-bc78-462b9805eb1c" providerId="ADAL" clId="{F1F4EA45-BD91-4BC6-B6B8-94BB7E972346}" dt="2024-01-30T11:03:08.912" v="5" actId="1076"/>
          <ac:spMkLst>
            <pc:docMk/>
            <pc:sldMk cId="4137967765" sldId="448"/>
            <ac:spMk id="22" creationId="{4294EFEB-B204-1F23-4556-A50224E760F4}"/>
          </ac:spMkLst>
        </pc:spChg>
        <pc:spChg chg="mod">
          <ac:chgData name="Joy Oforka" userId="e57aed7b-39d1-4dda-bc78-462b9805eb1c" providerId="ADAL" clId="{F1F4EA45-BD91-4BC6-B6B8-94BB7E972346}" dt="2024-01-30T11:03:08.912" v="5" actId="1076"/>
          <ac:spMkLst>
            <pc:docMk/>
            <pc:sldMk cId="4137967765" sldId="448"/>
            <ac:spMk id="23" creationId="{AA6762B8-3D83-D1B6-8B9F-8ABED1CB2CAE}"/>
          </ac:spMkLst>
        </pc:spChg>
        <pc:spChg chg="mod">
          <ac:chgData name="Joy Oforka" userId="e57aed7b-39d1-4dda-bc78-462b9805eb1c" providerId="ADAL" clId="{F1F4EA45-BD91-4BC6-B6B8-94BB7E972346}" dt="2024-01-30T11:03:08.912" v="5" actId="1076"/>
          <ac:spMkLst>
            <pc:docMk/>
            <pc:sldMk cId="4137967765" sldId="448"/>
            <ac:spMk id="24" creationId="{2EC1DA6B-F526-DA84-ECBF-D2F92EBA3F14}"/>
          </ac:spMkLst>
        </pc:spChg>
        <pc:spChg chg="mod">
          <ac:chgData name="Joy Oforka" userId="e57aed7b-39d1-4dda-bc78-462b9805eb1c" providerId="ADAL" clId="{F1F4EA45-BD91-4BC6-B6B8-94BB7E972346}" dt="2024-01-30T11:03:08.912" v="5" actId="1076"/>
          <ac:spMkLst>
            <pc:docMk/>
            <pc:sldMk cId="4137967765" sldId="448"/>
            <ac:spMk id="25" creationId="{84D4C1D8-A48E-D9F5-5DD0-A664DA7E2716}"/>
          </ac:spMkLst>
        </pc:spChg>
        <pc:spChg chg="mod">
          <ac:chgData name="Joy Oforka" userId="e57aed7b-39d1-4dda-bc78-462b9805eb1c" providerId="ADAL" clId="{F1F4EA45-BD91-4BC6-B6B8-94BB7E972346}" dt="2024-01-30T11:03:08.912" v="5" actId="1076"/>
          <ac:spMkLst>
            <pc:docMk/>
            <pc:sldMk cId="4137967765" sldId="448"/>
            <ac:spMk id="26" creationId="{5079FE12-707C-8EB7-399E-2433CD2CA161}"/>
          </ac:spMkLst>
        </pc:spChg>
        <pc:spChg chg="mod">
          <ac:chgData name="Joy Oforka" userId="e57aed7b-39d1-4dda-bc78-462b9805eb1c" providerId="ADAL" clId="{F1F4EA45-BD91-4BC6-B6B8-94BB7E972346}" dt="2024-01-30T11:03:08.912" v="5" actId="1076"/>
          <ac:spMkLst>
            <pc:docMk/>
            <pc:sldMk cId="4137967765" sldId="448"/>
            <ac:spMk id="27" creationId="{53C1CDDB-0E19-37E8-2EE8-7366D05AD6B3}"/>
          </ac:spMkLst>
        </pc:spChg>
        <pc:spChg chg="mod">
          <ac:chgData name="Joy Oforka" userId="e57aed7b-39d1-4dda-bc78-462b9805eb1c" providerId="ADAL" clId="{F1F4EA45-BD91-4BC6-B6B8-94BB7E972346}" dt="2024-01-30T11:03:08.912" v="5" actId="1076"/>
          <ac:spMkLst>
            <pc:docMk/>
            <pc:sldMk cId="4137967765" sldId="448"/>
            <ac:spMk id="28" creationId="{B2360AC8-6791-AD1A-6962-46E51136E667}"/>
          </ac:spMkLst>
        </pc:spChg>
        <pc:spChg chg="mod">
          <ac:chgData name="Joy Oforka" userId="e57aed7b-39d1-4dda-bc78-462b9805eb1c" providerId="ADAL" clId="{F1F4EA45-BD91-4BC6-B6B8-94BB7E972346}" dt="2024-01-30T11:03:08.912" v="5" actId="1076"/>
          <ac:spMkLst>
            <pc:docMk/>
            <pc:sldMk cId="4137967765" sldId="448"/>
            <ac:spMk id="29" creationId="{ADF83EE7-C0F0-9990-FCDA-71DBC12D63E4}"/>
          </ac:spMkLst>
        </pc:spChg>
        <pc:spChg chg="mod">
          <ac:chgData name="Joy Oforka" userId="e57aed7b-39d1-4dda-bc78-462b9805eb1c" providerId="ADAL" clId="{F1F4EA45-BD91-4BC6-B6B8-94BB7E972346}" dt="2024-01-30T11:03:08.912" v="5" actId="1076"/>
          <ac:spMkLst>
            <pc:docMk/>
            <pc:sldMk cId="4137967765" sldId="448"/>
            <ac:spMk id="30" creationId="{3C45C179-18AA-0126-FC10-1CFECB6F03C4}"/>
          </ac:spMkLst>
        </pc:spChg>
        <pc:spChg chg="mod">
          <ac:chgData name="Joy Oforka" userId="e57aed7b-39d1-4dda-bc78-462b9805eb1c" providerId="ADAL" clId="{F1F4EA45-BD91-4BC6-B6B8-94BB7E972346}" dt="2024-01-30T11:03:08.912" v="5" actId="1076"/>
          <ac:spMkLst>
            <pc:docMk/>
            <pc:sldMk cId="4137967765" sldId="448"/>
            <ac:spMk id="31" creationId="{873C3758-C0CD-1E69-1369-CE219785922A}"/>
          </ac:spMkLst>
        </pc:spChg>
        <pc:spChg chg="mod">
          <ac:chgData name="Joy Oforka" userId="e57aed7b-39d1-4dda-bc78-462b9805eb1c" providerId="ADAL" clId="{F1F4EA45-BD91-4BC6-B6B8-94BB7E972346}" dt="2024-01-30T11:03:08.912" v="5" actId="1076"/>
          <ac:spMkLst>
            <pc:docMk/>
            <pc:sldMk cId="4137967765" sldId="448"/>
            <ac:spMk id="32" creationId="{F19F5E42-E72C-B554-2BB8-FC1E9A3D7FE7}"/>
          </ac:spMkLst>
        </pc:spChg>
        <pc:spChg chg="mod">
          <ac:chgData name="Joy Oforka" userId="e57aed7b-39d1-4dda-bc78-462b9805eb1c" providerId="ADAL" clId="{F1F4EA45-BD91-4BC6-B6B8-94BB7E972346}" dt="2024-01-30T11:03:08.912" v="5" actId="1076"/>
          <ac:spMkLst>
            <pc:docMk/>
            <pc:sldMk cId="4137967765" sldId="448"/>
            <ac:spMk id="33" creationId="{A06DFFD7-DAA1-23E6-3226-C54D330DA5B1}"/>
          </ac:spMkLst>
        </pc:spChg>
        <pc:spChg chg="mod">
          <ac:chgData name="Joy Oforka" userId="e57aed7b-39d1-4dda-bc78-462b9805eb1c" providerId="ADAL" clId="{F1F4EA45-BD91-4BC6-B6B8-94BB7E972346}" dt="2024-01-30T11:03:08.912" v="5" actId="1076"/>
          <ac:spMkLst>
            <pc:docMk/>
            <pc:sldMk cId="4137967765" sldId="448"/>
            <ac:spMk id="34" creationId="{EFE36068-3C6D-AA63-7E12-E32AEC8CF3F4}"/>
          </ac:spMkLst>
        </pc:spChg>
        <pc:spChg chg="mod">
          <ac:chgData name="Joy Oforka" userId="e57aed7b-39d1-4dda-bc78-462b9805eb1c" providerId="ADAL" clId="{F1F4EA45-BD91-4BC6-B6B8-94BB7E972346}" dt="2024-01-30T11:03:08.912" v="5" actId="1076"/>
          <ac:spMkLst>
            <pc:docMk/>
            <pc:sldMk cId="4137967765" sldId="448"/>
            <ac:spMk id="35" creationId="{B27FF501-9F1B-6EEF-9B83-84DBCF67CBCB}"/>
          </ac:spMkLst>
        </pc:spChg>
        <pc:spChg chg="mod">
          <ac:chgData name="Joy Oforka" userId="e57aed7b-39d1-4dda-bc78-462b9805eb1c" providerId="ADAL" clId="{F1F4EA45-BD91-4BC6-B6B8-94BB7E972346}" dt="2024-01-30T11:03:08.912" v="5" actId="1076"/>
          <ac:spMkLst>
            <pc:docMk/>
            <pc:sldMk cId="4137967765" sldId="448"/>
            <ac:spMk id="36" creationId="{4A0BBBA0-1AB2-4D20-568C-E594ADDF7E0D}"/>
          </ac:spMkLst>
        </pc:spChg>
        <pc:spChg chg="mod">
          <ac:chgData name="Joy Oforka" userId="e57aed7b-39d1-4dda-bc78-462b9805eb1c" providerId="ADAL" clId="{F1F4EA45-BD91-4BC6-B6B8-94BB7E972346}" dt="2024-01-30T11:03:08.912" v="5" actId="1076"/>
          <ac:spMkLst>
            <pc:docMk/>
            <pc:sldMk cId="4137967765" sldId="448"/>
            <ac:spMk id="37" creationId="{5007DA57-41A0-1E5F-E8B7-043EF9A6964D}"/>
          </ac:spMkLst>
        </pc:spChg>
        <pc:spChg chg="mod">
          <ac:chgData name="Joy Oforka" userId="e57aed7b-39d1-4dda-bc78-462b9805eb1c" providerId="ADAL" clId="{F1F4EA45-BD91-4BC6-B6B8-94BB7E972346}" dt="2024-01-30T11:03:08.912" v="5" actId="1076"/>
          <ac:spMkLst>
            <pc:docMk/>
            <pc:sldMk cId="4137967765" sldId="448"/>
            <ac:spMk id="38" creationId="{66442CBD-4012-E046-5D33-80BE9679F444}"/>
          </ac:spMkLst>
        </pc:spChg>
        <pc:spChg chg="mod">
          <ac:chgData name="Joy Oforka" userId="e57aed7b-39d1-4dda-bc78-462b9805eb1c" providerId="ADAL" clId="{F1F4EA45-BD91-4BC6-B6B8-94BB7E972346}" dt="2024-01-30T11:03:08.912" v="5" actId="1076"/>
          <ac:spMkLst>
            <pc:docMk/>
            <pc:sldMk cId="4137967765" sldId="448"/>
            <ac:spMk id="39" creationId="{66C9EAEE-4E4D-F0D7-A538-6E450EFFFB8A}"/>
          </ac:spMkLst>
        </pc:spChg>
        <pc:spChg chg="mod">
          <ac:chgData name="Joy Oforka" userId="e57aed7b-39d1-4dda-bc78-462b9805eb1c" providerId="ADAL" clId="{F1F4EA45-BD91-4BC6-B6B8-94BB7E972346}" dt="2024-01-30T11:03:08.912" v="5" actId="1076"/>
          <ac:spMkLst>
            <pc:docMk/>
            <pc:sldMk cId="4137967765" sldId="448"/>
            <ac:spMk id="40" creationId="{A2EBE117-A272-FC7E-5F01-85568DE50A7D}"/>
          </ac:spMkLst>
        </pc:spChg>
        <pc:spChg chg="mod">
          <ac:chgData name="Joy Oforka" userId="e57aed7b-39d1-4dda-bc78-462b9805eb1c" providerId="ADAL" clId="{F1F4EA45-BD91-4BC6-B6B8-94BB7E972346}" dt="2024-01-30T11:03:08.912" v="5" actId="1076"/>
          <ac:spMkLst>
            <pc:docMk/>
            <pc:sldMk cId="4137967765" sldId="448"/>
            <ac:spMk id="41" creationId="{DC7D5DD7-ABA0-557A-C52A-831FA0210426}"/>
          </ac:spMkLst>
        </pc:spChg>
        <pc:spChg chg="mod">
          <ac:chgData name="Joy Oforka" userId="e57aed7b-39d1-4dda-bc78-462b9805eb1c" providerId="ADAL" clId="{F1F4EA45-BD91-4BC6-B6B8-94BB7E972346}" dt="2024-01-30T11:03:08.912" v="5" actId="1076"/>
          <ac:spMkLst>
            <pc:docMk/>
            <pc:sldMk cId="4137967765" sldId="448"/>
            <ac:spMk id="43" creationId="{616CEED3-154D-8D79-B46B-F739A08E317F}"/>
          </ac:spMkLst>
        </pc:spChg>
        <pc:spChg chg="mod">
          <ac:chgData name="Joy Oforka" userId="e57aed7b-39d1-4dda-bc78-462b9805eb1c" providerId="ADAL" clId="{F1F4EA45-BD91-4BC6-B6B8-94BB7E972346}" dt="2024-01-30T11:03:08.912" v="5" actId="1076"/>
          <ac:spMkLst>
            <pc:docMk/>
            <pc:sldMk cId="4137967765" sldId="448"/>
            <ac:spMk id="44" creationId="{22667E6C-CC90-CF90-D70D-62A2B0317082}"/>
          </ac:spMkLst>
        </pc:spChg>
        <pc:spChg chg="mod">
          <ac:chgData name="Joy Oforka" userId="e57aed7b-39d1-4dda-bc78-462b9805eb1c" providerId="ADAL" clId="{F1F4EA45-BD91-4BC6-B6B8-94BB7E972346}" dt="2024-01-30T11:03:08.912" v="5" actId="1076"/>
          <ac:spMkLst>
            <pc:docMk/>
            <pc:sldMk cId="4137967765" sldId="448"/>
            <ac:spMk id="45" creationId="{88871E98-C0C2-F7F4-6A7C-ABCAD32C046D}"/>
          </ac:spMkLst>
        </pc:spChg>
        <pc:spChg chg="mod">
          <ac:chgData name="Joy Oforka" userId="e57aed7b-39d1-4dda-bc78-462b9805eb1c" providerId="ADAL" clId="{F1F4EA45-BD91-4BC6-B6B8-94BB7E972346}" dt="2024-01-30T11:03:08.912" v="5" actId="1076"/>
          <ac:spMkLst>
            <pc:docMk/>
            <pc:sldMk cId="4137967765" sldId="448"/>
            <ac:spMk id="46" creationId="{087C352B-88E4-1182-48A4-FE45F27DD155}"/>
          </ac:spMkLst>
        </pc:spChg>
        <pc:spChg chg="mod">
          <ac:chgData name="Joy Oforka" userId="e57aed7b-39d1-4dda-bc78-462b9805eb1c" providerId="ADAL" clId="{F1F4EA45-BD91-4BC6-B6B8-94BB7E972346}" dt="2024-01-30T11:03:08.912" v="5" actId="1076"/>
          <ac:spMkLst>
            <pc:docMk/>
            <pc:sldMk cId="4137967765" sldId="448"/>
            <ac:spMk id="47" creationId="{BD3A5811-1345-F171-8031-5346D82BAE85}"/>
          </ac:spMkLst>
        </pc:spChg>
        <pc:spChg chg="mod">
          <ac:chgData name="Joy Oforka" userId="e57aed7b-39d1-4dda-bc78-462b9805eb1c" providerId="ADAL" clId="{F1F4EA45-BD91-4BC6-B6B8-94BB7E972346}" dt="2024-01-30T11:03:08.912" v="5" actId="1076"/>
          <ac:spMkLst>
            <pc:docMk/>
            <pc:sldMk cId="4137967765" sldId="448"/>
            <ac:spMk id="48" creationId="{0AFDF1C4-0958-49A9-A9FD-4230FB7C71F0}"/>
          </ac:spMkLst>
        </pc:spChg>
        <pc:spChg chg="mod">
          <ac:chgData name="Joy Oforka" userId="e57aed7b-39d1-4dda-bc78-462b9805eb1c" providerId="ADAL" clId="{F1F4EA45-BD91-4BC6-B6B8-94BB7E972346}" dt="2024-01-30T11:03:08.912" v="5" actId="1076"/>
          <ac:spMkLst>
            <pc:docMk/>
            <pc:sldMk cId="4137967765" sldId="448"/>
            <ac:spMk id="49" creationId="{7A77ABC8-D0B2-66A0-3720-4D15EE46FB84}"/>
          </ac:spMkLst>
        </pc:spChg>
        <pc:spChg chg="mod">
          <ac:chgData name="Joy Oforka" userId="e57aed7b-39d1-4dda-bc78-462b9805eb1c" providerId="ADAL" clId="{F1F4EA45-BD91-4BC6-B6B8-94BB7E972346}" dt="2024-01-30T11:03:08.912" v="5" actId="1076"/>
          <ac:spMkLst>
            <pc:docMk/>
            <pc:sldMk cId="4137967765" sldId="448"/>
            <ac:spMk id="50" creationId="{2F6679A9-0200-89A5-EF20-8C85A62B0E26}"/>
          </ac:spMkLst>
        </pc:spChg>
        <pc:spChg chg="mod">
          <ac:chgData name="Joy Oforka" userId="e57aed7b-39d1-4dda-bc78-462b9805eb1c" providerId="ADAL" clId="{F1F4EA45-BD91-4BC6-B6B8-94BB7E972346}" dt="2024-01-30T11:03:08.912" v="5" actId="1076"/>
          <ac:spMkLst>
            <pc:docMk/>
            <pc:sldMk cId="4137967765" sldId="448"/>
            <ac:spMk id="51" creationId="{CA37AB05-7EB4-463B-8720-734F8BA551C6}"/>
          </ac:spMkLst>
        </pc:spChg>
        <pc:spChg chg="mod">
          <ac:chgData name="Joy Oforka" userId="e57aed7b-39d1-4dda-bc78-462b9805eb1c" providerId="ADAL" clId="{F1F4EA45-BD91-4BC6-B6B8-94BB7E972346}" dt="2024-01-30T11:03:08.912" v="5" actId="1076"/>
          <ac:spMkLst>
            <pc:docMk/>
            <pc:sldMk cId="4137967765" sldId="448"/>
            <ac:spMk id="52" creationId="{F30E60F9-2C2A-69E4-5441-56C509D67692}"/>
          </ac:spMkLst>
        </pc:spChg>
        <pc:spChg chg="mod">
          <ac:chgData name="Joy Oforka" userId="e57aed7b-39d1-4dda-bc78-462b9805eb1c" providerId="ADAL" clId="{F1F4EA45-BD91-4BC6-B6B8-94BB7E972346}" dt="2024-01-30T11:03:08.912" v="5" actId="1076"/>
          <ac:spMkLst>
            <pc:docMk/>
            <pc:sldMk cId="4137967765" sldId="448"/>
            <ac:spMk id="53" creationId="{931D2317-0D7D-80B1-9433-A7975D954EF5}"/>
          </ac:spMkLst>
        </pc:spChg>
        <pc:spChg chg="mod">
          <ac:chgData name="Joy Oforka" userId="e57aed7b-39d1-4dda-bc78-462b9805eb1c" providerId="ADAL" clId="{F1F4EA45-BD91-4BC6-B6B8-94BB7E972346}" dt="2024-01-30T11:03:08.912" v="5" actId="1076"/>
          <ac:spMkLst>
            <pc:docMk/>
            <pc:sldMk cId="4137967765" sldId="448"/>
            <ac:spMk id="54" creationId="{8D762C4D-6277-CF6A-F4BD-DF6D5F40A718}"/>
          </ac:spMkLst>
        </pc:spChg>
        <pc:spChg chg="mod">
          <ac:chgData name="Joy Oforka" userId="e57aed7b-39d1-4dda-bc78-462b9805eb1c" providerId="ADAL" clId="{F1F4EA45-BD91-4BC6-B6B8-94BB7E972346}" dt="2024-01-30T11:03:08.912" v="5" actId="1076"/>
          <ac:spMkLst>
            <pc:docMk/>
            <pc:sldMk cId="4137967765" sldId="448"/>
            <ac:spMk id="55" creationId="{F9F94A90-F5BD-795E-EDE5-16E355888A1F}"/>
          </ac:spMkLst>
        </pc:spChg>
        <pc:spChg chg="mod">
          <ac:chgData name="Joy Oforka" userId="e57aed7b-39d1-4dda-bc78-462b9805eb1c" providerId="ADAL" clId="{F1F4EA45-BD91-4BC6-B6B8-94BB7E972346}" dt="2024-01-30T11:03:08.912" v="5" actId="1076"/>
          <ac:spMkLst>
            <pc:docMk/>
            <pc:sldMk cId="4137967765" sldId="448"/>
            <ac:spMk id="56" creationId="{707C626B-5ABC-639D-A461-8A16FA67A827}"/>
          </ac:spMkLst>
        </pc:spChg>
        <pc:spChg chg="mod">
          <ac:chgData name="Joy Oforka" userId="e57aed7b-39d1-4dda-bc78-462b9805eb1c" providerId="ADAL" clId="{F1F4EA45-BD91-4BC6-B6B8-94BB7E972346}" dt="2024-01-30T11:03:08.912" v="5" actId="1076"/>
          <ac:spMkLst>
            <pc:docMk/>
            <pc:sldMk cId="4137967765" sldId="448"/>
            <ac:spMk id="57" creationId="{1FA1AF8F-9FF7-1238-B713-033F60C15FDA}"/>
          </ac:spMkLst>
        </pc:spChg>
        <pc:spChg chg="mod">
          <ac:chgData name="Joy Oforka" userId="e57aed7b-39d1-4dda-bc78-462b9805eb1c" providerId="ADAL" clId="{F1F4EA45-BD91-4BC6-B6B8-94BB7E972346}" dt="2024-01-30T11:03:08.912" v="5" actId="1076"/>
          <ac:spMkLst>
            <pc:docMk/>
            <pc:sldMk cId="4137967765" sldId="448"/>
            <ac:spMk id="58" creationId="{CBAB4463-7CC4-3E4B-3DA0-1EE4F5F9FBE0}"/>
          </ac:spMkLst>
        </pc:spChg>
        <pc:spChg chg="mod">
          <ac:chgData name="Joy Oforka" userId="e57aed7b-39d1-4dda-bc78-462b9805eb1c" providerId="ADAL" clId="{F1F4EA45-BD91-4BC6-B6B8-94BB7E972346}" dt="2024-01-30T11:03:08.912" v="5" actId="1076"/>
          <ac:spMkLst>
            <pc:docMk/>
            <pc:sldMk cId="4137967765" sldId="448"/>
            <ac:spMk id="60" creationId="{6E3F7A93-E580-FF49-6635-8FD958E8B94B}"/>
          </ac:spMkLst>
        </pc:spChg>
        <pc:spChg chg="mod">
          <ac:chgData name="Joy Oforka" userId="e57aed7b-39d1-4dda-bc78-462b9805eb1c" providerId="ADAL" clId="{F1F4EA45-BD91-4BC6-B6B8-94BB7E972346}" dt="2024-01-30T11:03:08.912" v="5" actId="1076"/>
          <ac:spMkLst>
            <pc:docMk/>
            <pc:sldMk cId="4137967765" sldId="448"/>
            <ac:spMk id="61" creationId="{7D5E3554-490A-26BC-AF1C-A7A45A16FA4F}"/>
          </ac:spMkLst>
        </pc:spChg>
        <pc:spChg chg="mod">
          <ac:chgData name="Joy Oforka" userId="e57aed7b-39d1-4dda-bc78-462b9805eb1c" providerId="ADAL" clId="{F1F4EA45-BD91-4BC6-B6B8-94BB7E972346}" dt="2024-01-30T11:03:08.912" v="5" actId="1076"/>
          <ac:spMkLst>
            <pc:docMk/>
            <pc:sldMk cId="4137967765" sldId="448"/>
            <ac:spMk id="62" creationId="{55C9ED0F-4661-123B-F9CB-023BB7D28A84}"/>
          </ac:spMkLst>
        </pc:spChg>
        <pc:spChg chg="mod">
          <ac:chgData name="Joy Oforka" userId="e57aed7b-39d1-4dda-bc78-462b9805eb1c" providerId="ADAL" clId="{F1F4EA45-BD91-4BC6-B6B8-94BB7E972346}" dt="2024-01-30T11:03:08.912" v="5" actId="1076"/>
          <ac:spMkLst>
            <pc:docMk/>
            <pc:sldMk cId="4137967765" sldId="448"/>
            <ac:spMk id="63" creationId="{5FE61F1D-1E7D-10D9-23B1-32CEBCEE06A9}"/>
          </ac:spMkLst>
        </pc:spChg>
        <pc:spChg chg="mod">
          <ac:chgData name="Joy Oforka" userId="e57aed7b-39d1-4dda-bc78-462b9805eb1c" providerId="ADAL" clId="{F1F4EA45-BD91-4BC6-B6B8-94BB7E972346}" dt="2024-01-30T11:03:08.912" v="5" actId="1076"/>
          <ac:spMkLst>
            <pc:docMk/>
            <pc:sldMk cId="4137967765" sldId="448"/>
            <ac:spMk id="64" creationId="{BFA2C7F2-5B0E-DB05-074C-7EC16D30831C}"/>
          </ac:spMkLst>
        </pc:spChg>
        <pc:spChg chg="mod">
          <ac:chgData name="Joy Oforka" userId="e57aed7b-39d1-4dda-bc78-462b9805eb1c" providerId="ADAL" clId="{F1F4EA45-BD91-4BC6-B6B8-94BB7E972346}" dt="2024-01-30T11:03:08.912" v="5" actId="1076"/>
          <ac:spMkLst>
            <pc:docMk/>
            <pc:sldMk cId="4137967765" sldId="448"/>
            <ac:spMk id="65" creationId="{D1CFF342-8D68-B71A-6994-B48516636997}"/>
          </ac:spMkLst>
        </pc:spChg>
        <pc:spChg chg="mod">
          <ac:chgData name="Joy Oforka" userId="e57aed7b-39d1-4dda-bc78-462b9805eb1c" providerId="ADAL" clId="{F1F4EA45-BD91-4BC6-B6B8-94BB7E972346}" dt="2024-01-30T11:03:08.912" v="5" actId="1076"/>
          <ac:spMkLst>
            <pc:docMk/>
            <pc:sldMk cId="4137967765" sldId="448"/>
            <ac:spMk id="66" creationId="{24DDFB49-AECD-C933-81EA-539BBE2BA1C6}"/>
          </ac:spMkLst>
        </pc:spChg>
        <pc:spChg chg="mod">
          <ac:chgData name="Joy Oforka" userId="e57aed7b-39d1-4dda-bc78-462b9805eb1c" providerId="ADAL" clId="{F1F4EA45-BD91-4BC6-B6B8-94BB7E972346}" dt="2024-01-30T11:03:08.912" v="5" actId="1076"/>
          <ac:spMkLst>
            <pc:docMk/>
            <pc:sldMk cId="4137967765" sldId="448"/>
            <ac:spMk id="67" creationId="{47F1F20D-CE9C-D074-EE2D-0F70D99F0906}"/>
          </ac:spMkLst>
        </pc:spChg>
        <pc:spChg chg="mod">
          <ac:chgData name="Joy Oforka" userId="e57aed7b-39d1-4dda-bc78-462b9805eb1c" providerId="ADAL" clId="{F1F4EA45-BD91-4BC6-B6B8-94BB7E972346}" dt="2024-01-30T11:03:08.912" v="5" actId="1076"/>
          <ac:spMkLst>
            <pc:docMk/>
            <pc:sldMk cId="4137967765" sldId="448"/>
            <ac:spMk id="68" creationId="{E8E89902-0B5C-C0ED-D5E8-2ACAF5DC5566}"/>
          </ac:spMkLst>
        </pc:spChg>
        <pc:spChg chg="mod">
          <ac:chgData name="Joy Oforka" userId="e57aed7b-39d1-4dda-bc78-462b9805eb1c" providerId="ADAL" clId="{F1F4EA45-BD91-4BC6-B6B8-94BB7E972346}" dt="2024-01-30T11:27:29.491" v="12" actId="207"/>
          <ac:spMkLst>
            <pc:docMk/>
            <pc:sldMk cId="4137967765" sldId="448"/>
            <ac:spMk id="69" creationId="{D0344859-8D66-A1F5-42A3-2D601575C999}"/>
          </ac:spMkLst>
        </pc:spChg>
        <pc:spChg chg="mod">
          <ac:chgData name="Joy Oforka" userId="e57aed7b-39d1-4dda-bc78-462b9805eb1c" providerId="ADAL" clId="{F1F4EA45-BD91-4BC6-B6B8-94BB7E972346}" dt="2024-01-30T11:03:08.912" v="5" actId="1076"/>
          <ac:spMkLst>
            <pc:docMk/>
            <pc:sldMk cId="4137967765" sldId="448"/>
            <ac:spMk id="70" creationId="{574C1DA8-29D6-B71E-F7E7-67F3887F50FF}"/>
          </ac:spMkLst>
        </pc:spChg>
        <pc:spChg chg="mod">
          <ac:chgData name="Joy Oforka" userId="e57aed7b-39d1-4dda-bc78-462b9805eb1c" providerId="ADAL" clId="{F1F4EA45-BD91-4BC6-B6B8-94BB7E972346}" dt="2024-01-30T11:03:08.912" v="5" actId="1076"/>
          <ac:spMkLst>
            <pc:docMk/>
            <pc:sldMk cId="4137967765" sldId="448"/>
            <ac:spMk id="71" creationId="{E4B32FEC-36A8-A81F-5CDC-417857AAEFB0}"/>
          </ac:spMkLst>
        </pc:spChg>
        <pc:spChg chg="mod">
          <ac:chgData name="Joy Oforka" userId="e57aed7b-39d1-4dda-bc78-462b9805eb1c" providerId="ADAL" clId="{F1F4EA45-BD91-4BC6-B6B8-94BB7E972346}" dt="2024-01-30T11:03:08.912" v="5" actId="1076"/>
          <ac:spMkLst>
            <pc:docMk/>
            <pc:sldMk cId="4137967765" sldId="448"/>
            <ac:spMk id="72" creationId="{DFF87A23-2EF1-2399-A52C-822DFADC8626}"/>
          </ac:spMkLst>
        </pc:spChg>
        <pc:spChg chg="mod">
          <ac:chgData name="Joy Oforka" userId="e57aed7b-39d1-4dda-bc78-462b9805eb1c" providerId="ADAL" clId="{F1F4EA45-BD91-4BC6-B6B8-94BB7E972346}" dt="2024-01-30T11:03:08.912" v="5" actId="1076"/>
          <ac:spMkLst>
            <pc:docMk/>
            <pc:sldMk cId="4137967765" sldId="448"/>
            <ac:spMk id="73" creationId="{0A725B79-D34E-A56E-7C4D-B00D07024AE6}"/>
          </ac:spMkLst>
        </pc:spChg>
        <pc:spChg chg="mod">
          <ac:chgData name="Joy Oforka" userId="e57aed7b-39d1-4dda-bc78-462b9805eb1c" providerId="ADAL" clId="{F1F4EA45-BD91-4BC6-B6B8-94BB7E972346}" dt="2024-01-30T11:03:08.912" v="5" actId="1076"/>
          <ac:spMkLst>
            <pc:docMk/>
            <pc:sldMk cId="4137967765" sldId="448"/>
            <ac:spMk id="74" creationId="{488F79FB-D5F5-82BE-CCDA-F8AC48D049C0}"/>
          </ac:spMkLst>
        </pc:spChg>
        <pc:spChg chg="mod">
          <ac:chgData name="Joy Oforka" userId="e57aed7b-39d1-4dda-bc78-462b9805eb1c" providerId="ADAL" clId="{F1F4EA45-BD91-4BC6-B6B8-94BB7E972346}" dt="2024-01-30T11:03:08.912" v="5" actId="1076"/>
          <ac:spMkLst>
            <pc:docMk/>
            <pc:sldMk cId="4137967765" sldId="448"/>
            <ac:spMk id="75" creationId="{1DDC44A3-7142-E58B-337B-F211043A3D35}"/>
          </ac:spMkLst>
        </pc:spChg>
        <pc:spChg chg="mod">
          <ac:chgData name="Joy Oforka" userId="e57aed7b-39d1-4dda-bc78-462b9805eb1c" providerId="ADAL" clId="{F1F4EA45-BD91-4BC6-B6B8-94BB7E972346}" dt="2024-01-30T11:03:08.912" v="5" actId="1076"/>
          <ac:spMkLst>
            <pc:docMk/>
            <pc:sldMk cId="4137967765" sldId="448"/>
            <ac:spMk id="76" creationId="{08C58DA2-9E36-6EE7-25A4-06EFAF1EEB13}"/>
          </ac:spMkLst>
        </pc:spChg>
        <pc:spChg chg="mod">
          <ac:chgData name="Joy Oforka" userId="e57aed7b-39d1-4dda-bc78-462b9805eb1c" providerId="ADAL" clId="{F1F4EA45-BD91-4BC6-B6B8-94BB7E972346}" dt="2024-01-30T11:03:08.912" v="5" actId="1076"/>
          <ac:spMkLst>
            <pc:docMk/>
            <pc:sldMk cId="4137967765" sldId="448"/>
            <ac:spMk id="77" creationId="{90134A53-35B3-67A7-B704-D7C07F394D37}"/>
          </ac:spMkLst>
        </pc:spChg>
        <pc:spChg chg="mod">
          <ac:chgData name="Joy Oforka" userId="e57aed7b-39d1-4dda-bc78-462b9805eb1c" providerId="ADAL" clId="{F1F4EA45-BD91-4BC6-B6B8-94BB7E972346}" dt="2024-01-30T11:03:08.912" v="5" actId="1076"/>
          <ac:spMkLst>
            <pc:docMk/>
            <pc:sldMk cId="4137967765" sldId="448"/>
            <ac:spMk id="78" creationId="{A2BB7501-E4C8-3B28-785B-F5BAF2FF51A9}"/>
          </ac:spMkLst>
        </pc:spChg>
        <pc:spChg chg="mod">
          <ac:chgData name="Joy Oforka" userId="e57aed7b-39d1-4dda-bc78-462b9805eb1c" providerId="ADAL" clId="{F1F4EA45-BD91-4BC6-B6B8-94BB7E972346}" dt="2024-01-30T11:03:08.912" v="5" actId="1076"/>
          <ac:spMkLst>
            <pc:docMk/>
            <pc:sldMk cId="4137967765" sldId="448"/>
            <ac:spMk id="79" creationId="{966D9D46-A431-1EAB-5A84-CC95C86BEC59}"/>
          </ac:spMkLst>
        </pc:spChg>
        <pc:spChg chg="mod">
          <ac:chgData name="Joy Oforka" userId="e57aed7b-39d1-4dda-bc78-462b9805eb1c" providerId="ADAL" clId="{F1F4EA45-BD91-4BC6-B6B8-94BB7E972346}" dt="2024-01-30T11:03:08.912" v="5" actId="1076"/>
          <ac:spMkLst>
            <pc:docMk/>
            <pc:sldMk cId="4137967765" sldId="448"/>
            <ac:spMk id="80" creationId="{13D6D7A8-F748-5939-B1F9-BAEF4E140416}"/>
          </ac:spMkLst>
        </pc:spChg>
        <pc:spChg chg="mod">
          <ac:chgData name="Joy Oforka" userId="e57aed7b-39d1-4dda-bc78-462b9805eb1c" providerId="ADAL" clId="{F1F4EA45-BD91-4BC6-B6B8-94BB7E972346}" dt="2024-01-30T11:03:08.912" v="5" actId="1076"/>
          <ac:spMkLst>
            <pc:docMk/>
            <pc:sldMk cId="4137967765" sldId="448"/>
            <ac:spMk id="81" creationId="{8807C3D5-9D18-E59D-8277-CDB2FC40C92C}"/>
          </ac:spMkLst>
        </pc:spChg>
        <pc:spChg chg="mod">
          <ac:chgData name="Joy Oforka" userId="e57aed7b-39d1-4dda-bc78-462b9805eb1c" providerId="ADAL" clId="{F1F4EA45-BD91-4BC6-B6B8-94BB7E972346}" dt="2024-01-30T11:03:08.912" v="5" actId="1076"/>
          <ac:spMkLst>
            <pc:docMk/>
            <pc:sldMk cId="4137967765" sldId="448"/>
            <ac:spMk id="82" creationId="{163DAE69-A6E3-69B3-AD44-EA5096AFFD52}"/>
          </ac:spMkLst>
        </pc:spChg>
        <pc:spChg chg="mod">
          <ac:chgData name="Joy Oforka" userId="e57aed7b-39d1-4dda-bc78-462b9805eb1c" providerId="ADAL" clId="{F1F4EA45-BD91-4BC6-B6B8-94BB7E972346}" dt="2024-01-30T11:03:08.912" v="5" actId="1076"/>
          <ac:spMkLst>
            <pc:docMk/>
            <pc:sldMk cId="4137967765" sldId="448"/>
            <ac:spMk id="83" creationId="{1FAA50EC-E09A-6F04-88D3-A08D52EA22F7}"/>
          </ac:spMkLst>
        </pc:spChg>
        <pc:spChg chg="mod">
          <ac:chgData name="Joy Oforka" userId="e57aed7b-39d1-4dda-bc78-462b9805eb1c" providerId="ADAL" clId="{F1F4EA45-BD91-4BC6-B6B8-94BB7E972346}" dt="2024-01-30T11:03:08.912" v="5" actId="1076"/>
          <ac:spMkLst>
            <pc:docMk/>
            <pc:sldMk cId="4137967765" sldId="448"/>
            <ac:spMk id="84" creationId="{1FA56426-22C1-6969-5732-BEE23B55230F}"/>
          </ac:spMkLst>
        </pc:spChg>
        <pc:spChg chg="mod">
          <ac:chgData name="Joy Oforka" userId="e57aed7b-39d1-4dda-bc78-462b9805eb1c" providerId="ADAL" clId="{F1F4EA45-BD91-4BC6-B6B8-94BB7E972346}" dt="2024-01-30T11:03:08.912" v="5" actId="1076"/>
          <ac:spMkLst>
            <pc:docMk/>
            <pc:sldMk cId="4137967765" sldId="448"/>
            <ac:spMk id="85" creationId="{92781629-9B45-AFE8-0A60-B19BA31C8CCE}"/>
          </ac:spMkLst>
        </pc:spChg>
        <pc:spChg chg="mod">
          <ac:chgData name="Joy Oforka" userId="e57aed7b-39d1-4dda-bc78-462b9805eb1c" providerId="ADAL" clId="{F1F4EA45-BD91-4BC6-B6B8-94BB7E972346}" dt="2024-01-30T11:03:08.912" v="5" actId="1076"/>
          <ac:spMkLst>
            <pc:docMk/>
            <pc:sldMk cId="4137967765" sldId="448"/>
            <ac:spMk id="86" creationId="{EA196915-FA9E-82C3-FCB6-EA9FB745E5D3}"/>
          </ac:spMkLst>
        </pc:spChg>
        <pc:spChg chg="mod">
          <ac:chgData name="Joy Oforka" userId="e57aed7b-39d1-4dda-bc78-462b9805eb1c" providerId="ADAL" clId="{F1F4EA45-BD91-4BC6-B6B8-94BB7E972346}" dt="2024-01-30T11:03:08.912" v="5" actId="1076"/>
          <ac:spMkLst>
            <pc:docMk/>
            <pc:sldMk cId="4137967765" sldId="448"/>
            <ac:spMk id="87" creationId="{7FFB11D6-D3E2-1653-FFCE-65F34C159A43}"/>
          </ac:spMkLst>
        </pc:spChg>
        <pc:spChg chg="mod">
          <ac:chgData name="Joy Oforka" userId="e57aed7b-39d1-4dda-bc78-462b9805eb1c" providerId="ADAL" clId="{F1F4EA45-BD91-4BC6-B6B8-94BB7E972346}" dt="2024-01-30T11:03:08.912" v="5" actId="1076"/>
          <ac:spMkLst>
            <pc:docMk/>
            <pc:sldMk cId="4137967765" sldId="448"/>
            <ac:spMk id="88" creationId="{AAB3979C-5099-1572-CA4E-13ECC89D0B89}"/>
          </ac:spMkLst>
        </pc:spChg>
        <pc:spChg chg="mod">
          <ac:chgData name="Joy Oforka" userId="e57aed7b-39d1-4dda-bc78-462b9805eb1c" providerId="ADAL" clId="{F1F4EA45-BD91-4BC6-B6B8-94BB7E972346}" dt="2024-01-30T11:03:08.912" v="5" actId="1076"/>
          <ac:spMkLst>
            <pc:docMk/>
            <pc:sldMk cId="4137967765" sldId="448"/>
            <ac:spMk id="89" creationId="{C91A50A4-B61F-3597-8D10-85E293127BB2}"/>
          </ac:spMkLst>
        </pc:spChg>
        <pc:spChg chg="mod">
          <ac:chgData name="Joy Oforka" userId="e57aed7b-39d1-4dda-bc78-462b9805eb1c" providerId="ADAL" clId="{F1F4EA45-BD91-4BC6-B6B8-94BB7E972346}" dt="2024-01-30T11:03:08.912" v="5" actId="1076"/>
          <ac:spMkLst>
            <pc:docMk/>
            <pc:sldMk cId="4137967765" sldId="448"/>
            <ac:spMk id="90" creationId="{3F66879D-24A6-94CE-BABA-AB7156BA2E67}"/>
          </ac:spMkLst>
        </pc:spChg>
        <pc:spChg chg="mod">
          <ac:chgData name="Joy Oforka" userId="e57aed7b-39d1-4dda-bc78-462b9805eb1c" providerId="ADAL" clId="{F1F4EA45-BD91-4BC6-B6B8-94BB7E972346}" dt="2024-01-30T11:03:08.912" v="5" actId="1076"/>
          <ac:spMkLst>
            <pc:docMk/>
            <pc:sldMk cId="4137967765" sldId="448"/>
            <ac:spMk id="91" creationId="{DB00CF46-BBDC-F595-3FDF-2BB75E7A65D7}"/>
          </ac:spMkLst>
        </pc:spChg>
        <pc:spChg chg="mod">
          <ac:chgData name="Joy Oforka" userId="e57aed7b-39d1-4dda-bc78-462b9805eb1c" providerId="ADAL" clId="{F1F4EA45-BD91-4BC6-B6B8-94BB7E972346}" dt="2024-01-30T11:03:08.912" v="5" actId="1076"/>
          <ac:spMkLst>
            <pc:docMk/>
            <pc:sldMk cId="4137967765" sldId="448"/>
            <ac:spMk id="92" creationId="{6FB37B7A-95F0-75AE-95F2-428ED8E681D6}"/>
          </ac:spMkLst>
        </pc:spChg>
        <pc:spChg chg="mod">
          <ac:chgData name="Joy Oforka" userId="e57aed7b-39d1-4dda-bc78-462b9805eb1c" providerId="ADAL" clId="{F1F4EA45-BD91-4BC6-B6B8-94BB7E972346}" dt="2024-01-30T11:03:08.912" v="5" actId="1076"/>
          <ac:spMkLst>
            <pc:docMk/>
            <pc:sldMk cId="4137967765" sldId="448"/>
            <ac:spMk id="93" creationId="{72677E2B-52D3-32F2-20A5-14E33E10A53C}"/>
          </ac:spMkLst>
        </pc:spChg>
        <pc:spChg chg="mod">
          <ac:chgData name="Joy Oforka" userId="e57aed7b-39d1-4dda-bc78-462b9805eb1c" providerId="ADAL" clId="{F1F4EA45-BD91-4BC6-B6B8-94BB7E972346}" dt="2024-01-30T11:03:08.912" v="5" actId="1076"/>
          <ac:spMkLst>
            <pc:docMk/>
            <pc:sldMk cId="4137967765" sldId="448"/>
            <ac:spMk id="94" creationId="{B4D832EC-DA30-5BD1-BD2A-B1D9477578B7}"/>
          </ac:spMkLst>
        </pc:spChg>
        <pc:spChg chg="mod">
          <ac:chgData name="Joy Oforka" userId="e57aed7b-39d1-4dda-bc78-462b9805eb1c" providerId="ADAL" clId="{F1F4EA45-BD91-4BC6-B6B8-94BB7E972346}" dt="2024-01-30T11:03:08.912" v="5" actId="1076"/>
          <ac:spMkLst>
            <pc:docMk/>
            <pc:sldMk cId="4137967765" sldId="448"/>
            <ac:spMk id="95" creationId="{E1B35E2A-941D-9E11-0266-D2AEB133E7AA}"/>
          </ac:spMkLst>
        </pc:spChg>
        <pc:spChg chg="mod">
          <ac:chgData name="Joy Oforka" userId="e57aed7b-39d1-4dda-bc78-462b9805eb1c" providerId="ADAL" clId="{F1F4EA45-BD91-4BC6-B6B8-94BB7E972346}" dt="2024-01-30T11:03:08.912" v="5" actId="1076"/>
          <ac:spMkLst>
            <pc:docMk/>
            <pc:sldMk cId="4137967765" sldId="448"/>
            <ac:spMk id="97" creationId="{A8B2657D-5464-4813-8F86-F5BFF6B7F365}"/>
          </ac:spMkLst>
        </pc:spChg>
        <pc:spChg chg="mod">
          <ac:chgData name="Joy Oforka" userId="e57aed7b-39d1-4dda-bc78-462b9805eb1c" providerId="ADAL" clId="{F1F4EA45-BD91-4BC6-B6B8-94BB7E972346}" dt="2024-01-30T11:03:08.912" v="5" actId="1076"/>
          <ac:spMkLst>
            <pc:docMk/>
            <pc:sldMk cId="4137967765" sldId="448"/>
            <ac:spMk id="98" creationId="{B2B58335-364F-0587-F443-E35F34230D14}"/>
          </ac:spMkLst>
        </pc:spChg>
        <pc:spChg chg="mod">
          <ac:chgData name="Joy Oforka" userId="e57aed7b-39d1-4dda-bc78-462b9805eb1c" providerId="ADAL" clId="{F1F4EA45-BD91-4BC6-B6B8-94BB7E972346}" dt="2024-01-30T11:03:08.912" v="5" actId="1076"/>
          <ac:spMkLst>
            <pc:docMk/>
            <pc:sldMk cId="4137967765" sldId="448"/>
            <ac:spMk id="99" creationId="{BC5C8D3F-D1A8-BF01-58E2-FA0EFF6EE011}"/>
          </ac:spMkLst>
        </pc:spChg>
        <pc:spChg chg="mod">
          <ac:chgData name="Joy Oforka" userId="e57aed7b-39d1-4dda-bc78-462b9805eb1c" providerId="ADAL" clId="{F1F4EA45-BD91-4BC6-B6B8-94BB7E972346}" dt="2024-01-30T11:03:08.912" v="5" actId="1076"/>
          <ac:spMkLst>
            <pc:docMk/>
            <pc:sldMk cId="4137967765" sldId="448"/>
            <ac:spMk id="100" creationId="{D11FCC84-14E7-A9EC-5C23-087E8752C4C5}"/>
          </ac:spMkLst>
        </pc:spChg>
        <pc:spChg chg="mod">
          <ac:chgData name="Joy Oforka" userId="e57aed7b-39d1-4dda-bc78-462b9805eb1c" providerId="ADAL" clId="{F1F4EA45-BD91-4BC6-B6B8-94BB7E972346}" dt="2024-01-30T11:03:08.912" v="5" actId="1076"/>
          <ac:spMkLst>
            <pc:docMk/>
            <pc:sldMk cId="4137967765" sldId="448"/>
            <ac:spMk id="101" creationId="{6EBEFC56-E540-C4A7-2B20-05C1CF63F01D}"/>
          </ac:spMkLst>
        </pc:spChg>
        <pc:spChg chg="mod">
          <ac:chgData name="Joy Oforka" userId="e57aed7b-39d1-4dda-bc78-462b9805eb1c" providerId="ADAL" clId="{F1F4EA45-BD91-4BC6-B6B8-94BB7E972346}" dt="2024-01-30T11:03:08.912" v="5" actId="1076"/>
          <ac:spMkLst>
            <pc:docMk/>
            <pc:sldMk cId="4137967765" sldId="448"/>
            <ac:spMk id="102" creationId="{23D9CE41-FB76-92CF-CF27-B67A93184353}"/>
          </ac:spMkLst>
        </pc:spChg>
        <pc:grpChg chg="mod">
          <ac:chgData name="Joy Oforka" userId="e57aed7b-39d1-4dda-bc78-462b9805eb1c" providerId="ADAL" clId="{F1F4EA45-BD91-4BC6-B6B8-94BB7E972346}" dt="2024-01-30T11:03:08.912" v="5" actId="1076"/>
          <ac:grpSpMkLst>
            <pc:docMk/>
            <pc:sldMk cId="4137967765" sldId="448"/>
            <ac:grpSpMk id="3" creationId="{B4B16292-10EC-0E57-C567-B936763FB287}"/>
          </ac:grpSpMkLst>
        </pc:grpChg>
        <pc:grpChg chg="mod">
          <ac:chgData name="Joy Oforka" userId="e57aed7b-39d1-4dda-bc78-462b9805eb1c" providerId="ADAL" clId="{F1F4EA45-BD91-4BC6-B6B8-94BB7E972346}" dt="2024-01-30T11:03:08.912" v="5" actId="1076"/>
          <ac:grpSpMkLst>
            <pc:docMk/>
            <pc:sldMk cId="4137967765" sldId="448"/>
            <ac:grpSpMk id="12" creationId="{D3186D12-4594-1334-F213-72859B6E0C18}"/>
          </ac:grpSpMkLst>
        </pc:grpChg>
        <pc:grpChg chg="mod">
          <ac:chgData name="Joy Oforka" userId="e57aed7b-39d1-4dda-bc78-462b9805eb1c" providerId="ADAL" clId="{F1F4EA45-BD91-4BC6-B6B8-94BB7E972346}" dt="2024-01-30T11:03:08.912" v="5" actId="1076"/>
          <ac:grpSpMkLst>
            <pc:docMk/>
            <pc:sldMk cId="4137967765" sldId="448"/>
            <ac:grpSpMk id="18" creationId="{D88353C4-3435-B8E6-DFF4-4EB98ED79E8D}"/>
          </ac:grpSpMkLst>
        </pc:grpChg>
        <pc:grpChg chg="mod">
          <ac:chgData name="Joy Oforka" userId="e57aed7b-39d1-4dda-bc78-462b9805eb1c" providerId="ADAL" clId="{F1F4EA45-BD91-4BC6-B6B8-94BB7E972346}" dt="2024-01-30T11:03:08.912" v="5" actId="1076"/>
          <ac:grpSpMkLst>
            <pc:docMk/>
            <pc:sldMk cId="4137967765" sldId="448"/>
            <ac:grpSpMk id="19" creationId="{F43DC350-1B2E-AB6B-52E7-4896DB80612C}"/>
          </ac:grpSpMkLst>
        </pc:grpChg>
        <pc:grpChg chg="mod">
          <ac:chgData name="Joy Oforka" userId="e57aed7b-39d1-4dda-bc78-462b9805eb1c" providerId="ADAL" clId="{F1F4EA45-BD91-4BC6-B6B8-94BB7E972346}" dt="2024-01-30T11:03:08.912" v="5" actId="1076"/>
          <ac:grpSpMkLst>
            <pc:docMk/>
            <pc:sldMk cId="4137967765" sldId="448"/>
            <ac:grpSpMk id="59" creationId="{84BD628C-7B24-0B95-4FF5-9031606A907B}"/>
          </ac:grpSpMkLst>
        </pc:grpChg>
        <pc:cxnChg chg="mod">
          <ac:chgData name="Joy Oforka" userId="e57aed7b-39d1-4dda-bc78-462b9805eb1c" providerId="ADAL" clId="{F1F4EA45-BD91-4BC6-B6B8-94BB7E972346}" dt="2024-01-30T11:03:08.912" v="5" actId="1076"/>
          <ac:cxnSpMkLst>
            <pc:docMk/>
            <pc:sldMk cId="4137967765" sldId="448"/>
            <ac:cxnSpMk id="4" creationId="{AC6F9076-BCAD-DCE7-DA14-6452D16F0A21}"/>
          </ac:cxnSpMkLst>
        </pc:cxnChg>
        <pc:cxnChg chg="mod">
          <ac:chgData name="Joy Oforka" userId="e57aed7b-39d1-4dda-bc78-462b9805eb1c" providerId="ADAL" clId="{F1F4EA45-BD91-4BC6-B6B8-94BB7E972346}" dt="2024-01-30T11:03:08.912" v="5" actId="1076"/>
          <ac:cxnSpMkLst>
            <pc:docMk/>
            <pc:sldMk cId="4137967765" sldId="448"/>
            <ac:cxnSpMk id="103" creationId="{790895A3-6EEB-6169-C9FE-8E6F79895604}"/>
          </ac:cxnSpMkLst>
        </pc:cxnChg>
      </pc:sldChg>
      <pc:sldChg chg="del">
        <pc:chgData name="Joy Oforka" userId="e57aed7b-39d1-4dda-bc78-462b9805eb1c" providerId="ADAL" clId="{F1F4EA45-BD91-4BC6-B6B8-94BB7E972346}" dt="2024-01-30T11:50:57.250" v="633" actId="47"/>
        <pc:sldMkLst>
          <pc:docMk/>
          <pc:sldMk cId="2052574162" sldId="472"/>
        </pc:sldMkLst>
      </pc:sldChg>
      <pc:sldChg chg="new del">
        <pc:chgData name="Joy Oforka" userId="e57aed7b-39d1-4dda-bc78-462b9805eb1c" providerId="ADAL" clId="{F1F4EA45-BD91-4BC6-B6B8-94BB7E972346}" dt="2024-01-30T12:09:59.202" v="1102" actId="680"/>
        <pc:sldMkLst>
          <pc:docMk/>
          <pc:sldMk cId="3299297578" sldId="47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BDE78A-98AB-4455-B350-CB7D08F6EAF8}" type="datetimeFigureOut">
              <a:rPr lang="en-US" smtClean="0"/>
              <a:t>1/30/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FDB501-6F7F-48ED-9A09-CD21E9833B5C}" type="slidenum">
              <a:rPr lang="en-US" smtClean="0"/>
              <a:t>‹#›</a:t>
            </a:fld>
            <a:endParaRPr lang="en-US" dirty="0"/>
          </a:p>
        </p:txBody>
      </p:sp>
    </p:spTree>
    <p:extLst>
      <p:ext uri="{BB962C8B-B14F-4D97-AF65-F5344CB8AC3E}">
        <p14:creationId xmlns:p14="http://schemas.microsoft.com/office/powerpoint/2010/main" val="31083933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FDB501-6F7F-48ED-9A09-CD21E9833B5C}" type="slidenum">
              <a:rPr lang="en-US" smtClean="0"/>
              <a:t>1</a:t>
            </a:fld>
            <a:endParaRPr lang="en-US" dirty="0"/>
          </a:p>
        </p:txBody>
      </p:sp>
    </p:spTree>
    <p:extLst>
      <p:ext uri="{BB962C8B-B14F-4D97-AF65-F5344CB8AC3E}">
        <p14:creationId xmlns:p14="http://schemas.microsoft.com/office/powerpoint/2010/main" val="16234535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FDB501-6F7F-48ED-9A09-CD21E9833B5C}" type="slidenum">
              <a:rPr lang="en-US" smtClean="0"/>
              <a:t>10</a:t>
            </a:fld>
            <a:endParaRPr lang="en-US" dirty="0"/>
          </a:p>
        </p:txBody>
      </p:sp>
    </p:spTree>
    <p:extLst>
      <p:ext uri="{BB962C8B-B14F-4D97-AF65-F5344CB8AC3E}">
        <p14:creationId xmlns:p14="http://schemas.microsoft.com/office/powerpoint/2010/main" val="2504895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FDB501-6F7F-48ED-9A09-CD21E9833B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5398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teau State and violent clashes</a:t>
            </a:r>
          </a:p>
          <a:p>
            <a:r>
              <a:rPr lang="en-US"/>
              <a:t>Sit-at-home exercise in S/E</a:t>
            </a:r>
            <a:endParaRPr lang="en-US" dirty="0"/>
          </a:p>
        </p:txBody>
      </p:sp>
      <p:sp>
        <p:nvSpPr>
          <p:cNvPr id="4" name="Slide Number Placeholder 3"/>
          <p:cNvSpPr>
            <a:spLocks noGrp="1"/>
          </p:cNvSpPr>
          <p:nvPr>
            <p:ph type="sldNum" sz="quarter" idx="5"/>
          </p:nvPr>
        </p:nvSpPr>
        <p:spPr/>
        <p:txBody>
          <a:bodyPr/>
          <a:lstStyle/>
          <a:p>
            <a:fld id="{B9FDB501-6F7F-48ED-9A09-CD21E9833B5C}" type="slidenum">
              <a:rPr lang="en-US" smtClean="0"/>
              <a:t>3</a:t>
            </a:fld>
            <a:endParaRPr lang="en-US" dirty="0"/>
          </a:p>
        </p:txBody>
      </p:sp>
    </p:spTree>
    <p:extLst>
      <p:ext uri="{BB962C8B-B14F-4D97-AF65-F5344CB8AC3E}">
        <p14:creationId xmlns:p14="http://schemas.microsoft.com/office/powerpoint/2010/main" val="1880931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e incidents with more than 50 abductees in Zamfara State</a:t>
            </a:r>
          </a:p>
          <a:p>
            <a:r>
              <a:rPr lang="en-US" dirty="0"/>
              <a:t>Kidnap in Abuja - 43</a:t>
            </a:r>
          </a:p>
        </p:txBody>
      </p:sp>
      <p:sp>
        <p:nvSpPr>
          <p:cNvPr id="4" name="Slide Number Placeholder 3"/>
          <p:cNvSpPr>
            <a:spLocks noGrp="1"/>
          </p:cNvSpPr>
          <p:nvPr>
            <p:ph type="sldNum" sz="quarter" idx="5"/>
          </p:nvPr>
        </p:nvSpPr>
        <p:spPr/>
        <p:txBody>
          <a:bodyPr/>
          <a:lstStyle/>
          <a:p>
            <a:fld id="{B9FDB501-6F7F-48ED-9A09-CD21E9833B5C}" type="slidenum">
              <a:rPr lang="en-US" smtClean="0"/>
              <a:t>4</a:t>
            </a:fld>
            <a:endParaRPr lang="en-US" dirty="0"/>
          </a:p>
        </p:txBody>
      </p:sp>
    </p:spTree>
    <p:extLst>
      <p:ext uri="{BB962C8B-B14F-4D97-AF65-F5344CB8AC3E}">
        <p14:creationId xmlns:p14="http://schemas.microsoft.com/office/powerpoint/2010/main" val="1935238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FDB501-6F7F-48ED-9A09-CD21E9833B5C}" type="slidenum">
              <a:rPr lang="en-US" smtClean="0"/>
              <a:t>5</a:t>
            </a:fld>
            <a:endParaRPr lang="en-US" dirty="0"/>
          </a:p>
        </p:txBody>
      </p:sp>
    </p:spTree>
    <p:extLst>
      <p:ext uri="{BB962C8B-B14F-4D97-AF65-F5344CB8AC3E}">
        <p14:creationId xmlns:p14="http://schemas.microsoft.com/office/powerpoint/2010/main" val="1585181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a:p>
        </p:txBody>
      </p:sp>
      <p:sp>
        <p:nvSpPr>
          <p:cNvPr id="4" name="Slide Number Placeholder 3"/>
          <p:cNvSpPr>
            <a:spLocks noGrp="1"/>
          </p:cNvSpPr>
          <p:nvPr>
            <p:ph type="sldNum" sz="quarter" idx="5"/>
          </p:nvPr>
        </p:nvSpPr>
        <p:spPr/>
        <p:txBody>
          <a:bodyPr/>
          <a:lstStyle/>
          <a:p>
            <a:fld id="{B9FDB501-6F7F-48ED-9A09-CD21E9833B5C}" type="slidenum">
              <a:rPr lang="en-US" smtClean="0"/>
              <a:t>6</a:t>
            </a:fld>
            <a:endParaRPr lang="en-US" dirty="0"/>
          </a:p>
        </p:txBody>
      </p:sp>
    </p:spTree>
    <p:extLst>
      <p:ext uri="{BB962C8B-B14F-4D97-AF65-F5344CB8AC3E}">
        <p14:creationId xmlns:p14="http://schemas.microsoft.com/office/powerpoint/2010/main" val="834350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FDB501-6F7F-48ED-9A09-CD21E9833B5C}" type="slidenum">
              <a:rPr lang="en-US" smtClean="0"/>
              <a:t>7</a:t>
            </a:fld>
            <a:endParaRPr lang="en-US" dirty="0"/>
          </a:p>
        </p:txBody>
      </p:sp>
    </p:spTree>
    <p:extLst>
      <p:ext uri="{BB962C8B-B14F-4D97-AF65-F5344CB8AC3E}">
        <p14:creationId xmlns:p14="http://schemas.microsoft.com/office/powerpoint/2010/main" val="2246938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a:p>
        </p:txBody>
      </p:sp>
      <p:sp>
        <p:nvSpPr>
          <p:cNvPr id="4" name="Slide Number Placeholder 3"/>
          <p:cNvSpPr>
            <a:spLocks noGrp="1"/>
          </p:cNvSpPr>
          <p:nvPr>
            <p:ph type="sldNum" sz="quarter" idx="5"/>
          </p:nvPr>
        </p:nvSpPr>
        <p:spPr/>
        <p:txBody>
          <a:bodyPr/>
          <a:lstStyle/>
          <a:p>
            <a:fld id="{B9FDB501-6F7F-48ED-9A09-CD21E9833B5C}" type="slidenum">
              <a:rPr lang="en-US" smtClean="0"/>
              <a:t>8</a:t>
            </a:fld>
            <a:endParaRPr lang="en-US" dirty="0"/>
          </a:p>
        </p:txBody>
      </p:sp>
    </p:spTree>
    <p:extLst>
      <p:ext uri="{BB962C8B-B14F-4D97-AF65-F5344CB8AC3E}">
        <p14:creationId xmlns:p14="http://schemas.microsoft.com/office/powerpoint/2010/main" val="3690824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FDB501-6F7F-48ED-9A09-CD21E9833B5C}" type="slidenum">
              <a:rPr lang="en-US" smtClean="0"/>
              <a:t>9</a:t>
            </a:fld>
            <a:endParaRPr lang="en-US" dirty="0"/>
          </a:p>
        </p:txBody>
      </p:sp>
    </p:spTree>
    <p:extLst>
      <p:ext uri="{BB962C8B-B14F-4D97-AF65-F5344CB8AC3E}">
        <p14:creationId xmlns:p14="http://schemas.microsoft.com/office/powerpoint/2010/main" val="2504895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3D065-D9D3-4BE2-8EFD-A17C8941655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B11582-6D03-4D0D-9716-26FCA50D92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BC6FF4-4798-4EE2-80A8-7A6E2DB87906}"/>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5" name="Footer Placeholder 4">
            <a:extLst>
              <a:ext uri="{FF2B5EF4-FFF2-40B4-BE49-F238E27FC236}">
                <a16:creationId xmlns:a16="http://schemas.microsoft.com/office/drawing/2014/main" id="{5434D271-2CFC-4451-89F2-A927B108FA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4B9A404-5AC1-46CC-9BF1-F1A76616BBF8}"/>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25563403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7375D-9174-412F-9F8B-723A3DAD3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A7779E7-3DE2-4ADB-B886-5CD6A5AE44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7F5C9A-6914-4AEE-B6A1-FE9341ADAA0C}"/>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5" name="Footer Placeholder 4">
            <a:extLst>
              <a:ext uri="{FF2B5EF4-FFF2-40B4-BE49-F238E27FC236}">
                <a16:creationId xmlns:a16="http://schemas.microsoft.com/office/drawing/2014/main" id="{5D6971CA-86FD-439D-B659-590AE75758B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B33123C-D09B-4DD0-83B7-C10345CF834A}"/>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1138972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0611970-8E77-4810-9B7D-E83CDAA705B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47DA15C-CF24-4716-944D-7F596F1F34E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0552F5-1F12-43D8-9ACD-23DEBCC14801}"/>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5" name="Footer Placeholder 4">
            <a:extLst>
              <a:ext uri="{FF2B5EF4-FFF2-40B4-BE49-F238E27FC236}">
                <a16:creationId xmlns:a16="http://schemas.microsoft.com/office/drawing/2014/main" id="{4AE7FD8B-23F7-4ADA-99B0-156E1A8DC72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CCCE5EB-1041-4CE3-8FC5-B37209C68756}"/>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3179317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sp>
        <p:nvSpPr>
          <p:cNvPr id="1048583" name="Titel 1"/>
          <p:cNvSpPr>
            <a:spLocks noGrp="1"/>
          </p:cNvSpPr>
          <p:nvPr>
            <p:ph type="title"/>
          </p:nvPr>
        </p:nvSpPr>
        <p:spPr bwMode="gray">
          <a:xfrm>
            <a:off x="330200" y="136800"/>
            <a:ext cx="11584517" cy="522000"/>
          </a:xfrm>
          <a:prstGeom prst="rect">
            <a:avLst/>
          </a:prstGeom>
        </p:spPr>
        <p:txBody>
          <a:bodyPr/>
          <a:lstStyle/>
          <a:p>
            <a:r>
              <a:rPr lang="de-DE"/>
              <a:t>Titelmasterformat durch Klicken bearbeiten</a:t>
            </a:r>
          </a:p>
        </p:txBody>
      </p:sp>
      <p:sp>
        <p:nvSpPr>
          <p:cNvPr id="1048584" name="Foliennummernplatzhalter 5"/>
          <p:cNvSpPr>
            <a:spLocks noGrp="1"/>
          </p:cNvSpPr>
          <p:nvPr>
            <p:ph type="sldNum" sz="quarter" idx="12"/>
          </p:nvPr>
        </p:nvSpPr>
        <p:spPr bwMode="gray">
          <a:xfrm>
            <a:off x="457201" y="6407062"/>
            <a:ext cx="476251" cy="184666"/>
          </a:xfrm>
          <a:prstGeom prst="rect">
            <a:avLst/>
          </a:prstGeom>
        </p:spPr>
        <p:txBody>
          <a:bodyPr/>
          <a:lstStyle/>
          <a:p>
            <a:fld id="{8B385974-C8F7-41E2-B5C3-F75754D2A1E9}" type="slidenum">
              <a:rPr lang="de-DE" smtClean="0"/>
              <a:t>‹#›</a:t>
            </a:fld>
            <a:endParaRPr lang="de-DE"/>
          </a:p>
        </p:txBody>
      </p:sp>
      <p:sp>
        <p:nvSpPr>
          <p:cNvPr id="1048585" name="Textplatzhalter 7"/>
          <p:cNvSpPr>
            <a:spLocks noGrp="1"/>
          </p:cNvSpPr>
          <p:nvPr>
            <p:ph type="body" sz="quarter" idx="13"/>
          </p:nvPr>
        </p:nvSpPr>
        <p:spPr bwMode="gray">
          <a:xfrm>
            <a:off x="330202" y="658816"/>
            <a:ext cx="11578167" cy="402291"/>
          </a:xfrm>
          <a:prstGeom prst="rect">
            <a:avLst/>
          </a:prstGeom>
        </p:spPr>
        <p:txBody>
          <a:bodyPr vert="horz" lIns="0" tIns="46800" rIns="0" bIns="46800" rtlCol="0" anchor="t" anchorCtr="0">
            <a:noAutofit/>
          </a:bodyPr>
          <a:lstStyle>
            <a:lvl1pPr marL="0" indent="0">
              <a:buNone/>
              <a:defRPr lang="de-DE" sz="1500" b="0" smtClean="0">
                <a:solidFill>
                  <a:schemeClr val="tx1"/>
                </a:solidFill>
                <a:ea typeface="+mj-ea"/>
              </a:defRPr>
            </a:lvl1pPr>
            <a:lvl2pPr marL="0" indent="0">
              <a:buNone/>
              <a:defRPr lang="de-DE" sz="1500" b="0" smtClean="0"/>
            </a:lvl2pPr>
            <a:lvl3pPr marL="0" indent="0">
              <a:buNone/>
              <a:defRPr lang="de-DE" sz="1500" b="0" smtClean="0"/>
            </a:lvl3pPr>
            <a:lvl4pPr marL="0" indent="0">
              <a:buNone/>
              <a:defRPr lang="de-DE" sz="1500" b="0" smtClean="0"/>
            </a:lvl4pPr>
            <a:lvl5pPr marL="0" indent="0">
              <a:buNone/>
              <a:defRPr lang="de-DE" sz="1500" b="0"/>
            </a:lvl5pPr>
          </a:lstStyle>
          <a:p>
            <a:pPr lvl="0">
              <a:spcBef>
                <a:spcPct val="0"/>
              </a:spcBef>
            </a:pPr>
            <a:r>
              <a:rPr lang="de-DE"/>
              <a:t>Textmasterformat bearbeiten</a:t>
            </a:r>
          </a:p>
        </p:txBody>
      </p:sp>
      <p:sp>
        <p:nvSpPr>
          <p:cNvPr id="1048586" name="Rectangle 2"/>
          <p:cNvSpPr/>
          <p:nvPr userDrawn="1"/>
        </p:nvSpPr>
        <p:spPr>
          <a:xfrm>
            <a:off x="0" y="0"/>
            <a:ext cx="12432704" cy="7029400"/>
          </a:xfrm>
          <a:prstGeom prst="rect">
            <a:avLst/>
          </a:prstGeom>
          <a:solidFill>
            <a:schemeClr val="bg1">
              <a:lumMod val="95000"/>
            </a:schemeClr>
          </a:solidFill>
          <a:ln w="7620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313254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FE671-6E69-4B8D-98A0-F6CDE323AF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6971E4-6C68-4C3D-9D00-1E1BA1B8A57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58B1F7-3DEF-4371-ABBC-9D8570B66E8B}"/>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5" name="Footer Placeholder 4">
            <a:extLst>
              <a:ext uri="{FF2B5EF4-FFF2-40B4-BE49-F238E27FC236}">
                <a16:creationId xmlns:a16="http://schemas.microsoft.com/office/drawing/2014/main" id="{28E7F8B6-D082-45DA-835D-2789E39DFC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33EFB07-2E93-424F-98EB-755AE95A7DF6}"/>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416988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B111A-4DB2-4607-8F25-11FA3A7561D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6397FC-A74D-4391-B994-0B97B0A719D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956BF8-C8E2-4D98-9719-DB01DFC22230}"/>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5" name="Footer Placeholder 4">
            <a:extLst>
              <a:ext uri="{FF2B5EF4-FFF2-40B4-BE49-F238E27FC236}">
                <a16:creationId xmlns:a16="http://schemas.microsoft.com/office/drawing/2014/main" id="{8E97C3EA-9843-49D3-87F0-F9CA171025C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5910C52-3F10-4267-82B9-CA220800B9C6}"/>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17120571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F397B-802E-448F-8F55-0120D06B0D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CB5F17-E6E1-42EB-9B54-DDB68674EFA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359ED6E-3CA4-464F-99D0-B9B80F902F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38FB25D-E3CF-4D5E-A344-6E571FCE9702}"/>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6" name="Footer Placeholder 5">
            <a:extLst>
              <a:ext uri="{FF2B5EF4-FFF2-40B4-BE49-F238E27FC236}">
                <a16:creationId xmlns:a16="http://schemas.microsoft.com/office/drawing/2014/main" id="{37D63CC2-8130-4C46-B726-E0766E6B0C0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9162D92-D036-4238-BF5A-71ED3590D350}"/>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2564380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9C1F7-6FA7-4458-B525-1963129E8C6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70873E2-D2DE-451F-B0C0-02E96101E1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F67F7BF-FB52-480B-8455-93F499A458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1C1A145-3E42-45B4-8897-00AAEF989C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5B858D2-DA8F-465E-BD3D-6897649472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5B6EC45-0489-4D78-AA1D-B9D549202E99}"/>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8" name="Footer Placeholder 7">
            <a:extLst>
              <a:ext uri="{FF2B5EF4-FFF2-40B4-BE49-F238E27FC236}">
                <a16:creationId xmlns:a16="http://schemas.microsoft.com/office/drawing/2014/main" id="{360320A8-7D4D-46F0-84FD-2B5B41BCE8B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45D35D57-DBC5-4654-9EE4-6902A30A12E0}"/>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3832827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AC721-50F1-42F4-B54E-6FCB6802E96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97EB4E9-5FD2-4BA6-978A-B0CBA188F581}"/>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4" name="Footer Placeholder 3">
            <a:extLst>
              <a:ext uri="{FF2B5EF4-FFF2-40B4-BE49-F238E27FC236}">
                <a16:creationId xmlns:a16="http://schemas.microsoft.com/office/drawing/2014/main" id="{8A2E959C-02AB-45E8-807A-53EC350A44C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3842CE2-E7CE-4341-ACCC-0BC2E7D1D753}"/>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1937632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3DEFC7-1BF0-4E0B-93BF-5FF225AB1A99}"/>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3" name="Footer Placeholder 2">
            <a:extLst>
              <a:ext uri="{FF2B5EF4-FFF2-40B4-BE49-F238E27FC236}">
                <a16:creationId xmlns:a16="http://schemas.microsoft.com/office/drawing/2014/main" id="{31BE060E-EB8A-421C-A8E5-70B3A18E283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73299B4-CFF3-4D3C-9C95-00A8BE6E6E29}"/>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36405974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5A776-38DA-4901-9BAC-B107B8C45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E6FCC16-63A2-4B96-BB2B-62F90069A7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F819878-A60D-44F6-8FC1-F4FE88AFD0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E47E15-406A-470D-9D47-F3EF039D528B}"/>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6" name="Footer Placeholder 5">
            <a:extLst>
              <a:ext uri="{FF2B5EF4-FFF2-40B4-BE49-F238E27FC236}">
                <a16:creationId xmlns:a16="http://schemas.microsoft.com/office/drawing/2014/main" id="{689731BE-E7C0-4324-BFC0-D173C494678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D5B73C7-4272-40F5-91EA-8725525D0E80}"/>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983033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8C401-EAD2-48BF-8F98-AC88D3FDF0E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656A64C-0B54-4707-B1AD-A3E86ABEABD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CF704E73-879C-4EF8-A3D6-FD2A361224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BBA43F-4C56-4689-A0C9-5CBCC6ABDF9C}"/>
              </a:ext>
            </a:extLst>
          </p:cNvPr>
          <p:cNvSpPr>
            <a:spLocks noGrp="1"/>
          </p:cNvSpPr>
          <p:nvPr>
            <p:ph type="dt" sz="half" idx="10"/>
          </p:nvPr>
        </p:nvSpPr>
        <p:spPr/>
        <p:txBody>
          <a:bodyPr/>
          <a:lstStyle/>
          <a:p>
            <a:fld id="{4C395D21-31FB-49C5-90C7-5564DF9EA85C}" type="datetimeFigureOut">
              <a:rPr lang="en-US" smtClean="0"/>
              <a:t>1/30/2024</a:t>
            </a:fld>
            <a:endParaRPr lang="en-US" dirty="0"/>
          </a:p>
        </p:txBody>
      </p:sp>
      <p:sp>
        <p:nvSpPr>
          <p:cNvPr id="6" name="Footer Placeholder 5">
            <a:extLst>
              <a:ext uri="{FF2B5EF4-FFF2-40B4-BE49-F238E27FC236}">
                <a16:creationId xmlns:a16="http://schemas.microsoft.com/office/drawing/2014/main" id="{0D07102A-CB54-484D-A40B-CA14D1B2625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0DF6770-8378-4232-ACA7-464796FCB4A6}"/>
              </a:ext>
            </a:extLst>
          </p:cNvPr>
          <p:cNvSpPr>
            <a:spLocks noGrp="1"/>
          </p:cNvSpPr>
          <p:nvPr>
            <p:ph type="sldNum" sz="quarter" idx="12"/>
          </p:nvPr>
        </p:nvSpPr>
        <p:spPr/>
        <p:txBody>
          <a:bodyPr/>
          <a:lstStyle/>
          <a:p>
            <a:fld id="{7138B7E9-BC33-45DA-ADEA-8FF636B8F4E9}" type="slidenum">
              <a:rPr lang="en-US" smtClean="0"/>
              <a:t>‹#›</a:t>
            </a:fld>
            <a:endParaRPr lang="en-US" dirty="0"/>
          </a:p>
        </p:txBody>
      </p:sp>
    </p:spTree>
    <p:extLst>
      <p:ext uri="{BB962C8B-B14F-4D97-AF65-F5344CB8AC3E}">
        <p14:creationId xmlns:p14="http://schemas.microsoft.com/office/powerpoint/2010/main" val="1453088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l="-15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DCD19DD-F3C0-4BBC-940D-DE29EF923DE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8324F42-F60A-4979-AA27-65A1FAEE09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12FE56-F873-4274-8478-0D8AECE398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395D21-31FB-49C5-90C7-5564DF9EA85C}" type="datetimeFigureOut">
              <a:rPr lang="en-US" smtClean="0"/>
              <a:t>1/30/2024</a:t>
            </a:fld>
            <a:endParaRPr lang="en-US" dirty="0"/>
          </a:p>
        </p:txBody>
      </p:sp>
      <p:sp>
        <p:nvSpPr>
          <p:cNvPr id="5" name="Footer Placeholder 4">
            <a:extLst>
              <a:ext uri="{FF2B5EF4-FFF2-40B4-BE49-F238E27FC236}">
                <a16:creationId xmlns:a16="http://schemas.microsoft.com/office/drawing/2014/main" id="{701F1B50-D544-4479-8131-20B671B7FC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CB3BC03C-E019-4739-838E-CCEAA0F33F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38B7E9-BC33-45DA-ADEA-8FF636B8F4E9}" type="slidenum">
              <a:rPr lang="en-US" smtClean="0"/>
              <a:t>‹#›</a:t>
            </a:fld>
            <a:endParaRPr lang="en-US" dirty="0"/>
          </a:p>
        </p:txBody>
      </p:sp>
    </p:spTree>
    <p:extLst>
      <p:ext uri="{BB962C8B-B14F-4D97-AF65-F5344CB8AC3E}">
        <p14:creationId xmlns:p14="http://schemas.microsoft.com/office/powerpoint/2010/main" val="41161330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3">
            <a:lum/>
          </a:blip>
          <a:srcRect/>
          <a:stretch>
            <a:fillRect l="-2100"/>
          </a:stretch>
        </a:blipFill>
        <a:effectLst/>
      </p:bgPr>
    </p:bg>
    <p:spTree>
      <p:nvGrpSpPr>
        <p:cNvPr id="1" name=""/>
        <p:cNvGrpSpPr/>
        <p:nvPr/>
      </p:nvGrpSpPr>
      <p:grpSpPr>
        <a:xfrm>
          <a:off x="0" y="0"/>
          <a:ext cx="0" cy="0"/>
          <a:chOff x="0" y="0"/>
          <a:chExt cx="0" cy="0"/>
        </a:xfrm>
      </p:grpSpPr>
      <p:sp>
        <p:nvSpPr>
          <p:cNvPr id="1048576" name="Title Placeholder 1"/>
          <p:cNvSpPr>
            <a:spLocks noGrp="1"/>
          </p:cNvSpPr>
          <p:nvPr>
            <p:ph type="title"/>
          </p:nvPr>
        </p:nvSpPr>
        <p:spPr>
          <a:xfrm>
            <a:off x="914805" y="457200"/>
            <a:ext cx="10363200" cy="914400"/>
          </a:xfrm>
          <a:prstGeom prst="rect">
            <a:avLst/>
          </a:prstGeom>
        </p:spPr>
        <p:txBody>
          <a:bodyPr vert="horz" lIns="91440" tIns="45720" rIns="91440" bIns="45720" rtlCol="0" anchor="b" anchorCtr="0">
            <a:normAutofit/>
          </a:bodyPr>
          <a:lstStyle/>
          <a:p>
            <a:r>
              <a:rPr lang="en-US"/>
              <a:t>Click to edit Master title style</a:t>
            </a:r>
          </a:p>
        </p:txBody>
      </p:sp>
      <p:sp>
        <p:nvSpPr>
          <p:cNvPr id="1048577" name="Text Placeholder 2"/>
          <p:cNvSpPr>
            <a:spLocks noGrp="1"/>
          </p:cNvSpPr>
          <p:nvPr>
            <p:ph type="body" idx="1"/>
          </p:nvPr>
        </p:nvSpPr>
        <p:spPr>
          <a:xfrm>
            <a:off x="914400" y="1600200"/>
            <a:ext cx="103632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1048578" name="Date Placeholder 3"/>
          <p:cNvSpPr>
            <a:spLocks noGrp="1"/>
          </p:cNvSpPr>
          <p:nvPr>
            <p:ph type="dt" sz="half" idx="2"/>
          </p:nvPr>
        </p:nvSpPr>
        <p:spPr>
          <a:xfrm>
            <a:off x="203200" y="6530079"/>
            <a:ext cx="2844800" cy="184666"/>
          </a:xfrm>
          <a:prstGeom prst="rect">
            <a:avLst/>
          </a:prstGeom>
        </p:spPr>
        <p:txBody>
          <a:bodyPr vert="horz" lIns="91440" tIns="45720" rIns="91440" bIns="45720" rtlCol="0" anchor="ctr">
            <a:spAutoFit/>
          </a:bodyPr>
          <a:lstStyle>
            <a:lvl1pPr algn="l">
              <a:defRPr sz="600" b="0" i="0">
                <a:solidFill>
                  <a:schemeClr val="tx1"/>
                </a:solidFill>
                <a:latin typeface="Calibri Light" panose="020F0302020204030204" pitchFamily="34" charset="0"/>
                <a:cs typeface="Calibri Light" panose="020F0302020204030204" pitchFamily="34" charset="0"/>
              </a:defRPr>
            </a:lvl1pPr>
          </a:lstStyle>
          <a:p>
            <a:r>
              <a:rPr lang="x-none"/>
              <a:t>8/9/2019</a:t>
            </a:r>
            <a:endParaRPr lang="en-US" dirty="0"/>
          </a:p>
        </p:txBody>
      </p:sp>
      <p:sp>
        <p:nvSpPr>
          <p:cNvPr id="1048579" name="Footer Placeholder 4"/>
          <p:cNvSpPr>
            <a:spLocks noGrp="1"/>
          </p:cNvSpPr>
          <p:nvPr>
            <p:ph type="ftr" sz="quarter" idx="3"/>
          </p:nvPr>
        </p:nvSpPr>
        <p:spPr>
          <a:xfrm>
            <a:off x="4165600" y="6530079"/>
            <a:ext cx="3860800" cy="184666"/>
          </a:xfrm>
          <a:prstGeom prst="rect">
            <a:avLst/>
          </a:prstGeom>
        </p:spPr>
        <p:txBody>
          <a:bodyPr vert="horz" lIns="91440" tIns="45720" rIns="91440" bIns="45720" rtlCol="0" anchor="ctr">
            <a:spAutoFit/>
          </a:bodyPr>
          <a:lstStyle>
            <a:lvl1pPr algn="ctr">
              <a:defRPr sz="600" b="0" i="0">
                <a:solidFill>
                  <a:schemeClr val="tx1"/>
                </a:solidFill>
                <a:latin typeface="Calibri Light" panose="020F0302020204030204" pitchFamily="34" charset="0"/>
                <a:cs typeface="Calibri Light" panose="020F0302020204030204" pitchFamily="34" charset="0"/>
              </a:defRPr>
            </a:lvl1pPr>
          </a:lstStyle>
          <a:p>
            <a:r>
              <a:rPr lang="en-US" dirty="0"/>
              <a:t>SIO PLSO</a:t>
            </a:r>
          </a:p>
        </p:txBody>
      </p:sp>
      <p:sp>
        <p:nvSpPr>
          <p:cNvPr id="1048580" name="Slide Number Placeholder 5"/>
          <p:cNvSpPr>
            <a:spLocks noGrp="1"/>
          </p:cNvSpPr>
          <p:nvPr>
            <p:ph type="sldNum" sz="quarter" idx="4"/>
          </p:nvPr>
        </p:nvSpPr>
        <p:spPr>
          <a:xfrm>
            <a:off x="9144000" y="6530079"/>
            <a:ext cx="2844800" cy="184666"/>
          </a:xfrm>
          <a:prstGeom prst="rect">
            <a:avLst/>
          </a:prstGeom>
        </p:spPr>
        <p:txBody>
          <a:bodyPr vert="horz" lIns="91440" tIns="45720" rIns="91440" bIns="45720" rtlCol="0" anchor="ctr">
            <a:spAutoFit/>
          </a:bodyPr>
          <a:lstStyle>
            <a:lvl1pPr algn="r">
              <a:defRPr sz="600" b="0" i="0">
                <a:solidFill>
                  <a:schemeClr val="tx1"/>
                </a:solidFill>
                <a:latin typeface="Calibri Light" panose="020F0302020204030204" pitchFamily="34" charset="0"/>
                <a:cs typeface="Calibri Light" panose="020F0302020204030204" pitchFamily="34" charset="0"/>
              </a:defRPr>
            </a:lvl1pPr>
          </a:lstStyle>
          <a:p>
            <a:fld id="{42782948-4DBE-204D-AB9E-B65E067054AE}" type="slidenum">
              <a:rPr lang="en-US" smtClean="0"/>
              <a:t>‹#›</a:t>
            </a:fld>
            <a:endParaRPr lang="en-US" dirty="0"/>
          </a:p>
        </p:txBody>
      </p:sp>
      <p:sp>
        <p:nvSpPr>
          <p:cNvPr id="1048581" name="Frame 6"/>
          <p:cNvSpPr/>
          <p:nvPr/>
        </p:nvSpPr>
        <p:spPr>
          <a:xfrm>
            <a:off x="0" y="0"/>
            <a:ext cx="12192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0" i="0" dirty="0">
              <a:solidFill>
                <a:schemeClr val="tx1"/>
              </a:solidFill>
              <a:latin typeface="Calibri Light" panose="020F0302020204030204" pitchFamily="34" charset="0"/>
              <a:cs typeface="Calibri Light" panose="020F0302020204030204" pitchFamily="34" charset="0"/>
            </a:endParaRPr>
          </a:p>
        </p:txBody>
      </p:sp>
      <p:sp>
        <p:nvSpPr>
          <p:cNvPr id="1048582" name="Rectangle 7"/>
          <p:cNvSpPr/>
          <p:nvPr userDrawn="1"/>
        </p:nvSpPr>
        <p:spPr>
          <a:xfrm>
            <a:off x="0" y="1"/>
            <a:ext cx="12395200" cy="7010400"/>
          </a:xfrm>
          <a:prstGeom prst="rect">
            <a:avLst/>
          </a:prstGeom>
          <a:solidFill>
            <a:schemeClr val="bg1">
              <a:lumMod val="95000"/>
            </a:schemeClr>
          </a:solidFill>
          <a:ln w="5715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159903834"/>
      </p:ext>
    </p:extLst>
  </p:cSld>
  <p:clrMap bg1="lt1" tx1="dk1" bg2="lt2" tx2="dk2" accent1="accent1" accent2="accent2" accent3="accent3" accent4="accent4" accent5="accent5" accent6="accent6" hlink="hlink" folHlink="folHlink"/>
  <p:sldLayoutIdLst>
    <p:sldLayoutId id="2147483661" r:id="rId1"/>
  </p:sldLayoutIdLst>
  <p:transition spd="med">
    <p:pull/>
  </p:transition>
  <p:hf sldNum="0" hdr="0"/>
  <p:txStyles>
    <p:titleStyle>
      <a:lvl1pPr algn="l" defTabSz="457200" rtl="0" eaLnBrk="1" latinLnBrk="0" hangingPunct="1">
        <a:spcBef>
          <a:spcPct val="0"/>
        </a:spcBef>
        <a:buNone/>
        <a:defRPr sz="2800" b="0" i="0" kern="1200">
          <a:solidFill>
            <a:schemeClr val="tx1"/>
          </a:solidFill>
          <a:latin typeface="Calibri Light" panose="020F0302020204030204" pitchFamily="34" charset="0"/>
          <a:ea typeface="+mj-ea"/>
          <a:cs typeface="Calibri Light" panose="020F0302020204030204" pitchFamily="34" charset="0"/>
        </a:defRPr>
      </a:lvl1pPr>
    </p:titleStyle>
    <p:bodyStyle>
      <a:lvl1pPr marL="230188" indent="-230188" algn="l" defTabSz="457200" rtl="0" eaLnBrk="1" latinLnBrk="0" hangingPunct="1">
        <a:spcBef>
          <a:spcPts val="0"/>
        </a:spcBef>
        <a:spcAft>
          <a:spcPts val="1200"/>
        </a:spcAft>
        <a:buFont typeface="Arial"/>
        <a:buChar char="•"/>
        <a:defRPr sz="2000" b="0" i="0" kern="1200">
          <a:solidFill>
            <a:schemeClr val="tx1"/>
          </a:solidFill>
          <a:latin typeface="Calibri Light" panose="020F0302020204030204" pitchFamily="34" charset="0"/>
          <a:ea typeface="+mn-ea"/>
          <a:cs typeface="Calibri Light" panose="020F0302020204030204" pitchFamily="34" charset="0"/>
        </a:defRPr>
      </a:lvl1pPr>
      <a:lvl2pPr marL="684213" indent="-230188" algn="l" defTabSz="457200" rtl="0" eaLnBrk="1" latinLnBrk="0" hangingPunct="1">
        <a:spcBef>
          <a:spcPts val="0"/>
        </a:spcBef>
        <a:spcAft>
          <a:spcPts val="1200"/>
        </a:spcAft>
        <a:buFont typeface="Arial"/>
        <a:buChar char="–"/>
        <a:defRPr sz="2000" b="0" i="0" kern="1200">
          <a:solidFill>
            <a:schemeClr val="tx1"/>
          </a:solidFill>
          <a:latin typeface="Calibri Light" panose="020F0302020204030204" pitchFamily="34" charset="0"/>
          <a:ea typeface="+mn-ea"/>
          <a:cs typeface="Calibri Light" panose="020F0302020204030204" pitchFamily="34" charset="0"/>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vimeopro.com/rsmanimation/usaidnigeria-plso"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s://usaidplsonigeria.us/" TargetMode="External"/><Relationship Id="rId11" Type="http://schemas.openxmlformats.org/officeDocument/2006/relationships/hyperlink" Target="https://vimeopro.com/rsmanimation/usaiddesigning-policies-guidelines-plans-and-protocols" TargetMode="External"/><Relationship Id="rId5" Type="http://schemas.openxmlformats.org/officeDocument/2006/relationships/image" Target="../media/image4.png"/><Relationship Id="rId10" Type="http://schemas.openxmlformats.org/officeDocument/2006/relationships/hyperlink" Target="https://vimeopro.com/rsmanimation/usaidnigeria-know-before-you-go-video" TargetMode="External"/><Relationship Id="rId4" Type="http://schemas.openxmlformats.org/officeDocument/2006/relationships/hyperlink" Target="mailto:copplsonigeria@rsmconsulting.us" TargetMode="Externa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hyperlink" Target="https://www.intelligencefusion.co.uk/" TargetMode="External"/><Relationship Id="rId2" Type="http://schemas.openxmlformats.org/officeDocument/2006/relationships/hyperlink" Target="http://www.acleddata.com/" TargetMode="Externa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9.sv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11.sv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13.sv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15.sv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17.sv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7.png"/><Relationship Id="rId4" Type="http://schemas.openxmlformats.org/officeDocument/2006/relationships/image" Target="../media/image19.pn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a:stretch>
        </a:blip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1585A69-AE2F-4F35-B083-61D0144D76AB}"/>
              </a:ext>
            </a:extLst>
          </p:cNvPr>
          <p:cNvSpPr txBox="1"/>
          <p:nvPr/>
        </p:nvSpPr>
        <p:spPr>
          <a:xfrm>
            <a:off x="257798" y="777135"/>
            <a:ext cx="7389911" cy="1938992"/>
          </a:xfrm>
          <a:prstGeom prst="rect">
            <a:avLst/>
          </a:prstGeom>
          <a:noFill/>
        </p:spPr>
        <p:txBody>
          <a:bodyPr wrap="square" rtlCol="0">
            <a:spAutoFit/>
          </a:bodyPr>
          <a:lstStyle/>
          <a:p>
            <a:r>
              <a:rPr lang="en-US" sz="6000" b="1" dirty="0">
                <a:solidFill>
                  <a:schemeClr val="bg1"/>
                </a:solidFill>
                <a:latin typeface="Arial Nova Cond Light" panose="020B0306020202020204" pitchFamily="34" charset="0"/>
              </a:rPr>
              <a:t>PARTNER LIAISON SECURITY OPERATIONS</a:t>
            </a:r>
          </a:p>
        </p:txBody>
      </p:sp>
      <p:sp>
        <p:nvSpPr>
          <p:cNvPr id="3" name="TextBox 2">
            <a:extLst>
              <a:ext uri="{FF2B5EF4-FFF2-40B4-BE49-F238E27FC236}">
                <a16:creationId xmlns:a16="http://schemas.microsoft.com/office/drawing/2014/main" id="{F4BE97F2-D04C-40C5-ABA8-AB91090DF792}"/>
              </a:ext>
            </a:extLst>
          </p:cNvPr>
          <p:cNvSpPr txBox="1"/>
          <p:nvPr/>
        </p:nvSpPr>
        <p:spPr>
          <a:xfrm>
            <a:off x="315906" y="2499922"/>
            <a:ext cx="8296466" cy="523220"/>
          </a:xfrm>
          <a:prstGeom prst="rect">
            <a:avLst/>
          </a:prstGeom>
          <a:noFill/>
        </p:spPr>
        <p:txBody>
          <a:bodyPr wrap="square" rtlCol="0">
            <a:spAutoFit/>
          </a:bodyPr>
          <a:lstStyle/>
          <a:p>
            <a:r>
              <a:rPr lang="en-US" sz="2800" dirty="0">
                <a:solidFill>
                  <a:srgbClr val="8FE2FF"/>
                </a:solidFill>
                <a:latin typeface="Franklin Gothic Medium Cond" panose="020B0606030402020204" pitchFamily="34" charset="0"/>
              </a:rPr>
              <a:t>30</a:t>
            </a:r>
            <a:r>
              <a:rPr lang="en-US" sz="2800" baseline="30000" dirty="0">
                <a:solidFill>
                  <a:srgbClr val="8FE2FF"/>
                </a:solidFill>
                <a:latin typeface="Franklin Gothic Medium Cond" panose="020B0606030402020204" pitchFamily="34" charset="0"/>
              </a:rPr>
              <a:t>th</a:t>
            </a:r>
            <a:r>
              <a:rPr lang="en-US" sz="2800" dirty="0">
                <a:solidFill>
                  <a:srgbClr val="8FE2FF"/>
                </a:solidFill>
                <a:latin typeface="Franklin Gothic Medium Cond" panose="020B0606030402020204" pitchFamily="34" charset="0"/>
              </a:rPr>
              <a:t> January 2024 – Security Managers Roundtable Workshop</a:t>
            </a:r>
            <a:endParaRPr lang="en-US" sz="2400" dirty="0">
              <a:solidFill>
                <a:srgbClr val="8FE2FF"/>
              </a:solidFill>
              <a:latin typeface="Franklin Gothic Medium Cond" panose="020B0606030402020204" pitchFamily="34" charset="0"/>
            </a:endParaRPr>
          </a:p>
        </p:txBody>
      </p:sp>
      <p:grpSp>
        <p:nvGrpSpPr>
          <p:cNvPr id="18" name="Group 17">
            <a:extLst>
              <a:ext uri="{FF2B5EF4-FFF2-40B4-BE49-F238E27FC236}">
                <a16:creationId xmlns:a16="http://schemas.microsoft.com/office/drawing/2014/main" id="{76ED5109-C52B-4B7E-B10A-0F91081242C2}"/>
              </a:ext>
            </a:extLst>
          </p:cNvPr>
          <p:cNvGrpSpPr/>
          <p:nvPr/>
        </p:nvGrpSpPr>
        <p:grpSpPr>
          <a:xfrm>
            <a:off x="417732" y="5590646"/>
            <a:ext cx="6019625" cy="905606"/>
            <a:chOff x="5856469" y="5543486"/>
            <a:chExt cx="6019625" cy="905606"/>
          </a:xfrm>
          <a:effectLst>
            <a:outerShdw blurRad="88900" dist="38100" dir="8100000" algn="tr" rotWithShape="0">
              <a:prstClr val="black">
                <a:alpha val="17000"/>
              </a:prstClr>
            </a:outerShdw>
          </a:effectLst>
        </p:grpSpPr>
        <p:grpSp>
          <p:nvGrpSpPr>
            <p:cNvPr id="57" name="Group 56">
              <a:extLst>
                <a:ext uri="{FF2B5EF4-FFF2-40B4-BE49-F238E27FC236}">
                  <a16:creationId xmlns:a16="http://schemas.microsoft.com/office/drawing/2014/main" id="{E6C77854-05F9-454B-9D24-96DDDBD9AABB}"/>
                </a:ext>
              </a:extLst>
            </p:cNvPr>
            <p:cNvGrpSpPr/>
            <p:nvPr/>
          </p:nvGrpSpPr>
          <p:grpSpPr>
            <a:xfrm>
              <a:off x="5856469" y="5565098"/>
              <a:ext cx="6019625" cy="883994"/>
              <a:chOff x="7941903" y="1523632"/>
              <a:chExt cx="3052475" cy="883994"/>
            </a:xfrm>
          </p:grpSpPr>
          <p:sp>
            <p:nvSpPr>
              <p:cNvPr id="60" name="Rectangle 59">
                <a:extLst>
                  <a:ext uri="{FF2B5EF4-FFF2-40B4-BE49-F238E27FC236}">
                    <a16:creationId xmlns:a16="http://schemas.microsoft.com/office/drawing/2014/main" id="{8724BD7B-57A4-4D64-87C6-22E3D0B53C9A}"/>
                  </a:ext>
                </a:extLst>
              </p:cNvPr>
              <p:cNvSpPr/>
              <p:nvPr/>
            </p:nvSpPr>
            <p:spPr>
              <a:xfrm>
                <a:off x="7941904" y="1523632"/>
                <a:ext cx="3052474" cy="312959"/>
              </a:xfrm>
              <a:prstGeom prst="rect">
                <a:avLst/>
              </a:prstGeom>
              <a:solidFill>
                <a:srgbClr val="0079A0">
                  <a:alpha val="9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60">
                <a:extLst>
                  <a:ext uri="{FF2B5EF4-FFF2-40B4-BE49-F238E27FC236}">
                    <a16:creationId xmlns:a16="http://schemas.microsoft.com/office/drawing/2014/main" id="{06E7CECA-49D4-4902-A0AD-CF1C46916FF5}"/>
                  </a:ext>
                </a:extLst>
              </p:cNvPr>
              <p:cNvSpPr/>
              <p:nvPr/>
            </p:nvSpPr>
            <p:spPr>
              <a:xfrm>
                <a:off x="7941903" y="1836593"/>
                <a:ext cx="3052475" cy="571033"/>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8" name="TextBox 57">
              <a:hlinkClick r:id="rId4"/>
              <a:extLst>
                <a:ext uri="{FF2B5EF4-FFF2-40B4-BE49-F238E27FC236}">
                  <a16:creationId xmlns:a16="http://schemas.microsoft.com/office/drawing/2014/main" id="{9D6DE083-D706-41C4-B294-03C1C557A9C8}"/>
                </a:ext>
              </a:extLst>
            </p:cNvPr>
            <p:cNvSpPr txBox="1"/>
            <p:nvPr/>
          </p:nvSpPr>
          <p:spPr>
            <a:xfrm>
              <a:off x="6373711" y="5885110"/>
              <a:ext cx="4211162" cy="464871"/>
            </a:xfrm>
            <a:prstGeom prst="rect">
              <a:avLst/>
            </a:prstGeom>
            <a:noFill/>
          </p:spPr>
          <p:txBody>
            <a:bodyPr wrap="square" anchor="t">
              <a:spAutoFit/>
            </a:bodyPr>
            <a:lstStyle/>
            <a:p>
              <a:pPr>
                <a:lnSpc>
                  <a:spcPct val="150000"/>
                </a:lnSpc>
              </a:pPr>
              <a:r>
                <a:rPr lang="en-US" sz="1800" dirty="0">
                  <a:solidFill>
                    <a:schemeClr val="tx1">
                      <a:lumMod val="75000"/>
                      <a:lumOff val="25000"/>
                    </a:schemeClr>
                  </a:solidFill>
                </a:rPr>
                <a:t>Email: copplsonigeria@rsmconsulting.us</a:t>
              </a:r>
            </a:p>
          </p:txBody>
        </p:sp>
        <p:sp>
          <p:nvSpPr>
            <p:cNvPr id="59" name="TextBox 58">
              <a:extLst>
                <a:ext uri="{FF2B5EF4-FFF2-40B4-BE49-F238E27FC236}">
                  <a16:creationId xmlns:a16="http://schemas.microsoft.com/office/drawing/2014/main" id="{6654C569-B0D1-4D8E-BF4A-23EEC87125FD}"/>
                </a:ext>
              </a:extLst>
            </p:cNvPr>
            <p:cNvSpPr txBox="1"/>
            <p:nvPr/>
          </p:nvSpPr>
          <p:spPr>
            <a:xfrm>
              <a:off x="5856473" y="5543486"/>
              <a:ext cx="3860799" cy="369332"/>
            </a:xfrm>
            <a:prstGeom prst="rect">
              <a:avLst/>
            </a:prstGeom>
            <a:noFill/>
          </p:spPr>
          <p:txBody>
            <a:bodyPr wrap="square" rtlCol="0">
              <a:spAutoFit/>
            </a:bodyPr>
            <a:lstStyle/>
            <a:p>
              <a:r>
                <a:rPr lang="en-US" dirty="0">
                  <a:solidFill>
                    <a:schemeClr val="bg1"/>
                  </a:solidFill>
                </a:rPr>
                <a:t>Ask for PLSO Assistance:</a:t>
              </a:r>
            </a:p>
          </p:txBody>
        </p:sp>
        <p:pic>
          <p:nvPicPr>
            <p:cNvPr id="7" name="Picture 6" descr="Icon&#10;&#10;Description automatically generated">
              <a:hlinkClick r:id="rId4"/>
              <a:extLst>
                <a:ext uri="{FF2B5EF4-FFF2-40B4-BE49-F238E27FC236}">
                  <a16:creationId xmlns:a16="http://schemas.microsoft.com/office/drawing/2014/main" id="{7AB4207E-5C29-4338-A820-8CC497CDD78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57329" y="5967258"/>
              <a:ext cx="404045" cy="409192"/>
            </a:xfrm>
            <a:prstGeom prst="rect">
              <a:avLst/>
            </a:prstGeom>
          </p:spPr>
        </p:pic>
      </p:grpSp>
      <p:grpSp>
        <p:nvGrpSpPr>
          <p:cNvPr id="48" name="Group 47">
            <a:extLst>
              <a:ext uri="{FF2B5EF4-FFF2-40B4-BE49-F238E27FC236}">
                <a16:creationId xmlns:a16="http://schemas.microsoft.com/office/drawing/2014/main" id="{36A49172-6B44-4F13-B815-40F7B632B9C6}"/>
              </a:ext>
            </a:extLst>
          </p:cNvPr>
          <p:cNvGrpSpPr/>
          <p:nvPr/>
        </p:nvGrpSpPr>
        <p:grpSpPr>
          <a:xfrm>
            <a:off x="417733" y="3074700"/>
            <a:ext cx="6019625" cy="2417756"/>
            <a:chOff x="7941903" y="1523632"/>
            <a:chExt cx="3052475" cy="2417756"/>
          </a:xfrm>
        </p:grpSpPr>
        <p:sp>
          <p:nvSpPr>
            <p:cNvPr id="54" name="Rectangle 53">
              <a:extLst>
                <a:ext uri="{FF2B5EF4-FFF2-40B4-BE49-F238E27FC236}">
                  <a16:creationId xmlns:a16="http://schemas.microsoft.com/office/drawing/2014/main" id="{E59F9F6B-8A20-490E-BC3B-4E761678D37D}"/>
                </a:ext>
              </a:extLst>
            </p:cNvPr>
            <p:cNvSpPr/>
            <p:nvPr/>
          </p:nvSpPr>
          <p:spPr>
            <a:xfrm>
              <a:off x="7941904" y="1523632"/>
              <a:ext cx="3052474" cy="312959"/>
            </a:xfrm>
            <a:prstGeom prst="rect">
              <a:avLst/>
            </a:prstGeom>
            <a:solidFill>
              <a:srgbClr val="007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37D9496B-BD39-4A7C-8F96-39426771CE1F}"/>
                </a:ext>
              </a:extLst>
            </p:cNvPr>
            <p:cNvSpPr/>
            <p:nvPr/>
          </p:nvSpPr>
          <p:spPr>
            <a:xfrm>
              <a:off x="7941903" y="1836593"/>
              <a:ext cx="3052475" cy="2104795"/>
            </a:xfrm>
            <a:prstGeom prst="rect">
              <a:avLst/>
            </a:prstGeom>
            <a:solidFill>
              <a:srgbClr val="FFFFF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6EAA0DB3-781F-41EA-BDAC-392D5513FC0E}"/>
              </a:ext>
            </a:extLst>
          </p:cNvPr>
          <p:cNvSpPr txBox="1"/>
          <p:nvPr/>
        </p:nvSpPr>
        <p:spPr>
          <a:xfrm>
            <a:off x="417737" y="3053088"/>
            <a:ext cx="3860799" cy="369332"/>
          </a:xfrm>
          <a:prstGeom prst="rect">
            <a:avLst/>
          </a:prstGeom>
          <a:noFill/>
        </p:spPr>
        <p:txBody>
          <a:bodyPr wrap="square" rtlCol="0">
            <a:spAutoFit/>
          </a:bodyPr>
          <a:lstStyle/>
          <a:p>
            <a:r>
              <a:rPr lang="en-US" sz="1800" dirty="0">
                <a:solidFill>
                  <a:schemeClr val="bg1"/>
                </a:solidFill>
              </a:rPr>
              <a:t>PLSO Resource Links [Click the icons]</a:t>
            </a:r>
          </a:p>
        </p:txBody>
      </p:sp>
      <p:grpSp>
        <p:nvGrpSpPr>
          <p:cNvPr id="22" name="Group 21">
            <a:extLst>
              <a:ext uri="{FF2B5EF4-FFF2-40B4-BE49-F238E27FC236}">
                <a16:creationId xmlns:a16="http://schemas.microsoft.com/office/drawing/2014/main" id="{A39FA5C4-26DF-4A0F-9D47-8C67178846E0}"/>
              </a:ext>
            </a:extLst>
          </p:cNvPr>
          <p:cNvGrpSpPr/>
          <p:nvPr/>
        </p:nvGrpSpPr>
        <p:grpSpPr>
          <a:xfrm>
            <a:off x="518593" y="3403248"/>
            <a:ext cx="5561042" cy="474229"/>
            <a:chOff x="518593" y="3403248"/>
            <a:chExt cx="5561042" cy="474229"/>
          </a:xfrm>
        </p:grpSpPr>
        <p:sp>
          <p:nvSpPr>
            <p:cNvPr id="50" name="TextBox 49">
              <a:hlinkClick r:id="rId6"/>
              <a:extLst>
                <a:ext uri="{FF2B5EF4-FFF2-40B4-BE49-F238E27FC236}">
                  <a16:creationId xmlns:a16="http://schemas.microsoft.com/office/drawing/2014/main" id="{BFF26A8D-D453-4E33-9A36-BD75D71C2E4E}"/>
                </a:ext>
              </a:extLst>
            </p:cNvPr>
            <p:cNvSpPr txBox="1"/>
            <p:nvPr/>
          </p:nvSpPr>
          <p:spPr>
            <a:xfrm>
              <a:off x="925745" y="3403248"/>
              <a:ext cx="5153890" cy="464871"/>
            </a:xfrm>
            <a:prstGeom prst="rect">
              <a:avLst/>
            </a:prstGeom>
            <a:noFill/>
          </p:spPr>
          <p:txBody>
            <a:bodyPr wrap="square" anchor="t">
              <a:spAutoFit/>
            </a:bodyPr>
            <a:lstStyle/>
            <a:p>
              <a:pPr>
                <a:lnSpc>
                  <a:spcPct val="150000"/>
                </a:lnSpc>
                <a:spcBef>
                  <a:spcPts val="1200"/>
                </a:spcBef>
              </a:pPr>
              <a:r>
                <a:rPr lang="en-US" dirty="0">
                  <a:solidFill>
                    <a:schemeClr val="tx1">
                      <a:lumMod val="75000"/>
                      <a:lumOff val="25000"/>
                    </a:schemeClr>
                  </a:solidFill>
                </a:rPr>
                <a:t>PLSO Website</a:t>
              </a:r>
            </a:p>
          </p:txBody>
        </p:sp>
        <p:pic>
          <p:nvPicPr>
            <p:cNvPr id="10" name="Picture 9" descr="Icon&#10;&#10;Description automatically generated">
              <a:hlinkClick r:id="rId6"/>
              <a:extLst>
                <a:ext uri="{FF2B5EF4-FFF2-40B4-BE49-F238E27FC236}">
                  <a16:creationId xmlns:a16="http://schemas.microsoft.com/office/drawing/2014/main" id="{2D851722-AF73-41EF-92B0-7536439BC6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8593" y="3473432"/>
              <a:ext cx="406618" cy="404045"/>
            </a:xfrm>
            <a:prstGeom prst="rect">
              <a:avLst/>
            </a:prstGeom>
          </p:spPr>
        </p:pic>
      </p:grpSp>
      <p:pic>
        <p:nvPicPr>
          <p:cNvPr id="63" name="Picture 62" descr="Icon&#10;&#10;Description automatically generated">
            <a:hlinkClick r:id="rId8"/>
            <a:extLst>
              <a:ext uri="{FF2B5EF4-FFF2-40B4-BE49-F238E27FC236}">
                <a16:creationId xmlns:a16="http://schemas.microsoft.com/office/drawing/2014/main" id="{29FD67CC-7035-4190-87FA-F1A8A12F052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0181" y="4978691"/>
            <a:ext cx="404045" cy="404045"/>
          </a:xfrm>
          <a:prstGeom prst="rect">
            <a:avLst/>
          </a:prstGeom>
        </p:spPr>
      </p:pic>
      <p:grpSp>
        <p:nvGrpSpPr>
          <p:cNvPr id="24" name="Group 23">
            <a:extLst>
              <a:ext uri="{FF2B5EF4-FFF2-40B4-BE49-F238E27FC236}">
                <a16:creationId xmlns:a16="http://schemas.microsoft.com/office/drawing/2014/main" id="{9FAC92EA-BF0A-408E-81C2-0066EB9B8C24}"/>
              </a:ext>
            </a:extLst>
          </p:cNvPr>
          <p:cNvGrpSpPr/>
          <p:nvPr/>
        </p:nvGrpSpPr>
        <p:grpSpPr>
          <a:xfrm>
            <a:off x="520181" y="3905671"/>
            <a:ext cx="5559454" cy="473559"/>
            <a:chOff x="520181" y="3905671"/>
            <a:chExt cx="5559454" cy="473559"/>
          </a:xfrm>
        </p:grpSpPr>
        <p:pic>
          <p:nvPicPr>
            <p:cNvPr id="16" name="Picture 15" descr="Icon&#10;&#10;Description automatically generated">
              <a:hlinkClick r:id="rId10"/>
              <a:extLst>
                <a:ext uri="{FF2B5EF4-FFF2-40B4-BE49-F238E27FC236}">
                  <a16:creationId xmlns:a16="http://schemas.microsoft.com/office/drawing/2014/main" id="{A7A70302-3DE6-4AE4-8B36-D0871E457A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0181" y="3975185"/>
              <a:ext cx="404045" cy="404045"/>
            </a:xfrm>
            <a:prstGeom prst="rect">
              <a:avLst/>
            </a:prstGeom>
          </p:spPr>
        </p:pic>
        <p:sp>
          <p:nvSpPr>
            <p:cNvPr id="64" name="TextBox 63">
              <a:hlinkClick r:id="rId10"/>
              <a:extLst>
                <a:ext uri="{FF2B5EF4-FFF2-40B4-BE49-F238E27FC236}">
                  <a16:creationId xmlns:a16="http://schemas.microsoft.com/office/drawing/2014/main" id="{07F13A04-027A-4FC7-9D30-C6B58DDF4926}"/>
                </a:ext>
              </a:extLst>
            </p:cNvPr>
            <p:cNvSpPr txBox="1"/>
            <p:nvPr/>
          </p:nvSpPr>
          <p:spPr>
            <a:xfrm>
              <a:off x="925745" y="3905671"/>
              <a:ext cx="5153890" cy="464871"/>
            </a:xfrm>
            <a:prstGeom prst="rect">
              <a:avLst/>
            </a:prstGeom>
            <a:noFill/>
          </p:spPr>
          <p:txBody>
            <a:bodyPr wrap="square" anchor="t">
              <a:spAutoFit/>
            </a:bodyPr>
            <a:lstStyle/>
            <a:p>
              <a:pPr>
                <a:lnSpc>
                  <a:spcPct val="150000"/>
                </a:lnSpc>
                <a:spcBef>
                  <a:spcPts val="1200"/>
                </a:spcBef>
              </a:pPr>
              <a:r>
                <a:rPr lang="en-US" dirty="0">
                  <a:solidFill>
                    <a:schemeClr val="tx1">
                      <a:lumMod val="75000"/>
                      <a:lumOff val="25000"/>
                    </a:schemeClr>
                  </a:solidFill>
                </a:rPr>
                <a:t>Know-B4U-Go Video</a:t>
              </a:r>
            </a:p>
          </p:txBody>
        </p:sp>
      </p:grpSp>
      <p:grpSp>
        <p:nvGrpSpPr>
          <p:cNvPr id="26" name="Group 25">
            <a:extLst>
              <a:ext uri="{FF2B5EF4-FFF2-40B4-BE49-F238E27FC236}">
                <a16:creationId xmlns:a16="http://schemas.microsoft.com/office/drawing/2014/main" id="{BC3352D8-D8CC-468E-87B8-D0E03C0A0878}"/>
              </a:ext>
            </a:extLst>
          </p:cNvPr>
          <p:cNvGrpSpPr/>
          <p:nvPr/>
        </p:nvGrpSpPr>
        <p:grpSpPr>
          <a:xfrm>
            <a:off x="520181" y="4408094"/>
            <a:ext cx="5559454" cy="472889"/>
            <a:chOff x="520181" y="4408094"/>
            <a:chExt cx="5559454" cy="472889"/>
          </a:xfrm>
        </p:grpSpPr>
        <p:pic>
          <p:nvPicPr>
            <p:cNvPr id="62" name="Picture 61" descr="Icon&#10;&#10;Description automatically generated">
              <a:hlinkClick r:id="rId11"/>
              <a:extLst>
                <a:ext uri="{FF2B5EF4-FFF2-40B4-BE49-F238E27FC236}">
                  <a16:creationId xmlns:a16="http://schemas.microsoft.com/office/drawing/2014/main" id="{86A2FEFB-3338-4396-A499-30F9C88CB9D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0181" y="4476938"/>
              <a:ext cx="404045" cy="404045"/>
            </a:xfrm>
            <a:prstGeom prst="rect">
              <a:avLst/>
            </a:prstGeom>
          </p:spPr>
        </p:pic>
        <p:sp>
          <p:nvSpPr>
            <p:cNvPr id="65" name="TextBox 64">
              <a:hlinkClick r:id="rId11"/>
              <a:extLst>
                <a:ext uri="{FF2B5EF4-FFF2-40B4-BE49-F238E27FC236}">
                  <a16:creationId xmlns:a16="http://schemas.microsoft.com/office/drawing/2014/main" id="{6B263EC5-7F38-454D-8B28-7F8B4038548B}"/>
                </a:ext>
              </a:extLst>
            </p:cNvPr>
            <p:cNvSpPr txBox="1"/>
            <p:nvPr/>
          </p:nvSpPr>
          <p:spPr>
            <a:xfrm>
              <a:off x="925745" y="4408094"/>
              <a:ext cx="5153890" cy="464871"/>
            </a:xfrm>
            <a:prstGeom prst="rect">
              <a:avLst/>
            </a:prstGeom>
            <a:noFill/>
          </p:spPr>
          <p:txBody>
            <a:bodyPr wrap="square" anchor="t">
              <a:spAutoFit/>
            </a:bodyPr>
            <a:lstStyle/>
            <a:p>
              <a:pPr>
                <a:lnSpc>
                  <a:spcPct val="150000"/>
                </a:lnSpc>
                <a:spcBef>
                  <a:spcPts val="1200"/>
                </a:spcBef>
              </a:pPr>
              <a:r>
                <a:rPr lang="en-US" dirty="0">
                  <a:solidFill>
                    <a:schemeClr val="tx1">
                      <a:lumMod val="75000"/>
                      <a:lumOff val="25000"/>
                    </a:schemeClr>
                  </a:solidFill>
                </a:rPr>
                <a:t>Designing Security Document Systems online tutorial</a:t>
              </a:r>
            </a:p>
          </p:txBody>
        </p:sp>
      </p:grpSp>
      <p:sp>
        <p:nvSpPr>
          <p:cNvPr id="66" name="TextBox 65">
            <a:hlinkClick r:id="rId8"/>
            <a:extLst>
              <a:ext uri="{FF2B5EF4-FFF2-40B4-BE49-F238E27FC236}">
                <a16:creationId xmlns:a16="http://schemas.microsoft.com/office/drawing/2014/main" id="{B5327AE9-E35C-4637-A373-621F31AF4CE0}"/>
              </a:ext>
            </a:extLst>
          </p:cNvPr>
          <p:cNvSpPr txBox="1"/>
          <p:nvPr/>
        </p:nvSpPr>
        <p:spPr>
          <a:xfrm>
            <a:off x="925745" y="4910518"/>
            <a:ext cx="5153890" cy="464871"/>
          </a:xfrm>
          <a:prstGeom prst="rect">
            <a:avLst/>
          </a:prstGeom>
          <a:noFill/>
        </p:spPr>
        <p:txBody>
          <a:bodyPr wrap="square" anchor="t">
            <a:spAutoFit/>
          </a:bodyPr>
          <a:lstStyle/>
          <a:p>
            <a:pPr>
              <a:lnSpc>
                <a:spcPct val="150000"/>
              </a:lnSpc>
              <a:spcBef>
                <a:spcPts val="1200"/>
              </a:spcBef>
            </a:pPr>
            <a:r>
              <a:rPr lang="en-US" dirty="0">
                <a:solidFill>
                  <a:schemeClr val="tx1">
                    <a:lumMod val="75000"/>
                    <a:lumOff val="25000"/>
                  </a:schemeClr>
                </a:solidFill>
              </a:rPr>
              <a:t>ISER System</a:t>
            </a:r>
          </a:p>
        </p:txBody>
      </p:sp>
      <p:pic>
        <p:nvPicPr>
          <p:cNvPr id="68" name="Picture 67">
            <a:extLst>
              <a:ext uri="{FF2B5EF4-FFF2-40B4-BE49-F238E27FC236}">
                <a16:creationId xmlns:a16="http://schemas.microsoft.com/office/drawing/2014/main" id="{672E8B27-8E6C-4D0B-BC63-9E4979E2EE4E}"/>
              </a:ext>
            </a:extLst>
          </p:cNvPr>
          <p:cNvPicPr>
            <a:picLocks noChangeAspect="1"/>
          </p:cNvPicPr>
          <p:nvPr/>
        </p:nvPicPr>
        <p:blipFill>
          <a:blip r:embed="rId12"/>
          <a:srcRect/>
          <a:stretch/>
        </p:blipFill>
        <p:spPr>
          <a:xfrm>
            <a:off x="10376033" y="279672"/>
            <a:ext cx="1480466" cy="404539"/>
          </a:xfrm>
          <a:prstGeom prst="rect">
            <a:avLst/>
          </a:prstGeom>
        </p:spPr>
      </p:pic>
    </p:spTree>
    <p:extLst>
      <p:ext uri="{BB962C8B-B14F-4D97-AF65-F5344CB8AC3E}">
        <p14:creationId xmlns:p14="http://schemas.microsoft.com/office/powerpoint/2010/main" val="38088151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57D3155-6872-4C9F-B811-CF366ED00BD7}"/>
              </a:ext>
            </a:extLst>
          </p:cNvPr>
          <p:cNvSpPr txBox="1"/>
          <p:nvPr/>
        </p:nvSpPr>
        <p:spPr>
          <a:xfrm>
            <a:off x="1723671" y="141734"/>
            <a:ext cx="8788893" cy="646331"/>
          </a:xfrm>
          <a:prstGeom prst="rect">
            <a:avLst/>
          </a:prstGeom>
          <a:noFill/>
        </p:spPr>
        <p:txBody>
          <a:bodyPr wrap="square" rtlCol="0">
            <a:spAutoFit/>
          </a:bodyPr>
          <a:lstStyle/>
          <a:p>
            <a:pPr algn="ctr"/>
            <a:r>
              <a:rPr lang="en-US" sz="3600" b="1" dirty="0">
                <a:solidFill>
                  <a:schemeClr val="bg1"/>
                </a:solidFill>
              </a:rPr>
              <a:t>Conflict Awareness</a:t>
            </a:r>
          </a:p>
        </p:txBody>
      </p:sp>
      <p:grpSp>
        <p:nvGrpSpPr>
          <p:cNvPr id="3" name="Group 2">
            <a:extLst>
              <a:ext uri="{FF2B5EF4-FFF2-40B4-BE49-F238E27FC236}">
                <a16:creationId xmlns:a16="http://schemas.microsoft.com/office/drawing/2014/main" id="{3208C0DF-55E5-4F9A-9447-F428D841C7FE}"/>
              </a:ext>
            </a:extLst>
          </p:cNvPr>
          <p:cNvGrpSpPr/>
          <p:nvPr/>
        </p:nvGrpSpPr>
        <p:grpSpPr>
          <a:xfrm>
            <a:off x="47251" y="845716"/>
            <a:ext cx="12109237" cy="6066524"/>
            <a:chOff x="585043" y="846330"/>
            <a:chExt cx="11339796" cy="6066524"/>
          </a:xfrm>
        </p:grpSpPr>
        <p:sp>
          <p:nvSpPr>
            <p:cNvPr id="9" name="Rectangle 8">
              <a:extLst>
                <a:ext uri="{FF2B5EF4-FFF2-40B4-BE49-F238E27FC236}">
                  <a16:creationId xmlns:a16="http://schemas.microsoft.com/office/drawing/2014/main" id="{6628A534-7D26-44E9-B6BC-74BB41594EC4}"/>
                </a:ext>
              </a:extLst>
            </p:cNvPr>
            <p:cNvSpPr/>
            <p:nvPr/>
          </p:nvSpPr>
          <p:spPr>
            <a:xfrm>
              <a:off x="6133950" y="846330"/>
              <a:ext cx="5790889" cy="5745594"/>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BAB8C8B2-C19A-4877-9C57-E3D6D748AC20}"/>
                </a:ext>
              </a:extLst>
            </p:cNvPr>
            <p:cNvSpPr txBox="1"/>
            <p:nvPr/>
          </p:nvSpPr>
          <p:spPr>
            <a:xfrm>
              <a:off x="6216189" y="846330"/>
              <a:ext cx="5491693" cy="6063198"/>
            </a:xfrm>
            <a:prstGeom prst="rect">
              <a:avLst/>
            </a:prstGeom>
            <a:noFill/>
          </p:spPr>
          <p:txBody>
            <a:bodyPr wrap="square" rtlCol="0">
              <a:spAutoFit/>
            </a:bodyPr>
            <a:lstStyle/>
            <a:p>
              <a:pPr>
                <a:spcBef>
                  <a:spcPts val="600"/>
                </a:spcBef>
              </a:pPr>
              <a:r>
                <a:rPr lang="en-US" sz="1400" b="1" dirty="0">
                  <a:solidFill>
                    <a:schemeClr val="tx2"/>
                  </a:solidFill>
                </a:rPr>
                <a:t>1. Identify the Conflict, and plan mitigation process:</a:t>
              </a:r>
            </a:p>
            <a:p>
              <a:pPr marL="393700" indent="-228600">
                <a:spcBef>
                  <a:spcPts val="600"/>
                </a:spcBef>
                <a:buFont typeface="+mj-lt"/>
                <a:buAutoNum type="alphaUcPeriod"/>
              </a:pPr>
              <a:r>
                <a:rPr lang="en-US" sz="1200" dirty="0"/>
                <a:t>Maintain relationships with communities</a:t>
              </a:r>
            </a:p>
            <a:p>
              <a:pPr marL="393700" indent="-228600">
                <a:spcBef>
                  <a:spcPts val="600"/>
                </a:spcBef>
                <a:buFont typeface="+mj-lt"/>
                <a:buAutoNum type="alphaUcPeriod"/>
              </a:pPr>
              <a:r>
                <a:rPr lang="en-US" sz="1200" dirty="0"/>
                <a:t>Brief teams before deployment</a:t>
              </a:r>
            </a:p>
            <a:p>
              <a:pPr marL="393700" indent="-228600">
                <a:spcBef>
                  <a:spcPts val="600"/>
                </a:spcBef>
                <a:buFont typeface="+mj-lt"/>
                <a:buAutoNum type="alphaUcPeriod"/>
              </a:pPr>
              <a:r>
                <a:rPr lang="en-US" sz="1200" dirty="0"/>
                <a:t>If time allows, rehearse teams on actions they should carry out if there is an incident</a:t>
              </a:r>
            </a:p>
            <a:p>
              <a:pPr marL="393700" indent="-228600">
                <a:spcBef>
                  <a:spcPts val="600"/>
                </a:spcBef>
                <a:buFont typeface="+mj-lt"/>
                <a:buAutoNum type="alphaUcPeriod"/>
              </a:pPr>
              <a:r>
                <a:rPr lang="en-US" sz="1200" dirty="0"/>
                <a:t>Delay implementation until the conflict is resolved</a:t>
              </a:r>
            </a:p>
            <a:p>
              <a:pPr marL="393700" indent="-228600">
                <a:spcBef>
                  <a:spcPts val="600"/>
                </a:spcBef>
                <a:buFont typeface="+mj-lt"/>
                <a:buAutoNum type="alphaUcPeriod"/>
              </a:pPr>
              <a:r>
                <a:rPr lang="en-US" sz="1200" dirty="0"/>
                <a:t>Conduct a Security Risk Assessment before re-deployment</a:t>
              </a:r>
            </a:p>
            <a:p>
              <a:pPr marL="393700" indent="-228600">
                <a:spcBef>
                  <a:spcPts val="600"/>
                </a:spcBef>
                <a:buFont typeface="+mj-lt"/>
                <a:buAutoNum type="alphaUcPeriod"/>
              </a:pPr>
              <a:r>
                <a:rPr lang="en-US" sz="1200" dirty="0"/>
                <a:t>Conduct of Security Risk Assessments on facilities/compounds/warehouses</a:t>
              </a:r>
            </a:p>
            <a:p>
              <a:pPr marL="393700" indent="-228600">
                <a:spcBef>
                  <a:spcPts val="600"/>
                </a:spcBef>
                <a:buFont typeface="+mj-lt"/>
                <a:buAutoNum type="alphaUcPeriod"/>
              </a:pPr>
              <a:r>
                <a:rPr lang="en-US" sz="1200" dirty="0"/>
                <a:t>Identify the triggers that contribute to conflict</a:t>
              </a:r>
            </a:p>
            <a:p>
              <a:pPr marL="393700" indent="-228600">
                <a:spcBef>
                  <a:spcPts val="600"/>
                </a:spcBef>
                <a:buFont typeface="+mj-lt"/>
                <a:buAutoNum type="alphaUcPeriod"/>
              </a:pPr>
              <a:r>
                <a:rPr lang="en-US" sz="1200" dirty="0"/>
                <a:t>Sensitization</a:t>
              </a:r>
            </a:p>
            <a:p>
              <a:pPr marL="393700" indent="-228600">
                <a:spcBef>
                  <a:spcPts val="600"/>
                </a:spcBef>
                <a:buFont typeface="+mj-lt"/>
                <a:buAutoNum type="alphaUcPeriod"/>
              </a:pPr>
              <a:r>
                <a:rPr lang="en-US" sz="1200" dirty="0"/>
                <a:t>Staff Safety and Security Awareness</a:t>
              </a:r>
            </a:p>
            <a:p>
              <a:pPr marL="393700" indent="-228600">
                <a:spcBef>
                  <a:spcPts val="600"/>
                </a:spcBef>
                <a:buFont typeface="+mj-lt"/>
                <a:buAutoNum type="alphaUcPeriod"/>
              </a:pPr>
              <a:r>
                <a:rPr lang="en-US" sz="1200" dirty="0"/>
                <a:t>Introductions to local community elders</a:t>
              </a:r>
            </a:p>
            <a:p>
              <a:pPr marL="393700" indent="-228600">
                <a:spcBef>
                  <a:spcPts val="600"/>
                </a:spcBef>
                <a:buFont typeface="+mj-lt"/>
                <a:buAutoNum type="alphaUcPeriod"/>
              </a:pPr>
              <a:r>
                <a:rPr lang="en-US" sz="1200" dirty="0"/>
                <a:t>Introductions to local religious leaders</a:t>
              </a:r>
            </a:p>
            <a:p>
              <a:pPr marL="393700" indent="-228600">
                <a:spcBef>
                  <a:spcPts val="600"/>
                </a:spcBef>
                <a:buFont typeface="+mj-lt"/>
                <a:buAutoNum type="alphaUcPeriod"/>
              </a:pPr>
              <a:r>
                <a:rPr lang="en-US" sz="1200" dirty="0"/>
                <a:t>Use of community volunteers</a:t>
              </a:r>
            </a:p>
            <a:p>
              <a:pPr marL="393700" indent="-228600">
                <a:spcBef>
                  <a:spcPts val="600"/>
                </a:spcBef>
                <a:buFont typeface="+mj-lt"/>
                <a:buAutoNum type="alphaUcPeriod"/>
              </a:pPr>
              <a:r>
                <a:rPr lang="en-US" sz="1200" dirty="0"/>
                <a:t>Provision of weekly security briefings</a:t>
              </a:r>
            </a:p>
            <a:p>
              <a:pPr marL="393700" indent="-228600">
                <a:spcBef>
                  <a:spcPts val="600"/>
                </a:spcBef>
                <a:buFont typeface="+mj-lt"/>
                <a:buAutoNum type="alphaUcPeriod"/>
              </a:pPr>
              <a:r>
                <a:rPr lang="en-US" sz="1200" dirty="0"/>
                <a:t>Monitoring of local media</a:t>
              </a:r>
            </a:p>
            <a:p>
              <a:pPr marL="393700" indent="-228600">
                <a:spcBef>
                  <a:spcPts val="600"/>
                </a:spcBef>
                <a:buFont typeface="+mj-lt"/>
                <a:buAutoNum type="alphaUcPeriod"/>
              </a:pPr>
              <a:r>
                <a:rPr lang="en-US" sz="1200" dirty="0"/>
                <a:t>Development of information sharing groups</a:t>
              </a:r>
            </a:p>
            <a:p>
              <a:pPr marL="393700" indent="-228600">
                <a:spcBef>
                  <a:spcPts val="600"/>
                </a:spcBef>
                <a:buFont typeface="+mj-lt"/>
                <a:buAutoNum type="alphaUcPeriod"/>
              </a:pPr>
              <a:r>
                <a:rPr lang="en-US" sz="1200" dirty="0"/>
                <a:t>Inclusion on information sharing groups such as the PLSO</a:t>
              </a:r>
            </a:p>
            <a:p>
              <a:pPr marL="393700" indent="-228600">
                <a:spcBef>
                  <a:spcPts val="600"/>
                </a:spcBef>
                <a:buFont typeface="+mj-lt"/>
                <a:buAutoNum type="alphaUcPeriod"/>
              </a:pPr>
              <a:r>
                <a:rPr lang="en-US" sz="1200" dirty="0"/>
                <a:t>Discussion with local staff from communities to understand the security conditions</a:t>
              </a:r>
            </a:p>
            <a:p>
              <a:pPr marL="393700" indent="-228600">
                <a:spcBef>
                  <a:spcPts val="600"/>
                </a:spcBef>
                <a:buFont typeface="+mj-lt"/>
                <a:buAutoNum type="alphaUcPeriod"/>
              </a:pPr>
              <a:r>
                <a:rPr lang="en-US" sz="1200" dirty="0"/>
                <a:t>Emergency Planning</a:t>
              </a:r>
            </a:p>
            <a:p>
              <a:pPr marL="393700" indent="-228600">
                <a:spcBef>
                  <a:spcPts val="600"/>
                </a:spcBef>
                <a:buFont typeface="+mj-lt"/>
                <a:buAutoNum type="alphaUcPeriod"/>
              </a:pPr>
              <a:r>
                <a:rPr lang="en-US" sz="1200" dirty="0"/>
                <a:t>Evacuation Planning</a:t>
              </a:r>
            </a:p>
            <a:p>
              <a:pPr marL="393700" indent="-228600">
                <a:spcBef>
                  <a:spcPts val="600"/>
                </a:spcBef>
                <a:buFont typeface="+mj-lt"/>
                <a:buAutoNum type="alphaUcPeriod"/>
              </a:pPr>
              <a:r>
                <a:rPr lang="en-US" sz="1200" dirty="0"/>
                <a:t>Maintaining Communications</a:t>
              </a:r>
            </a:p>
            <a:p>
              <a:pPr marL="393700" indent="-228600">
                <a:spcBef>
                  <a:spcPts val="600"/>
                </a:spcBef>
                <a:buFont typeface="+mj-lt"/>
                <a:buAutoNum type="alphaUcPeriod"/>
              </a:pPr>
              <a:r>
                <a:rPr lang="en-US" sz="1200" dirty="0"/>
                <a:t>Alternative Communications</a:t>
              </a:r>
            </a:p>
            <a:p>
              <a:pPr marL="393700" indent="-228600">
                <a:spcBef>
                  <a:spcPts val="600"/>
                </a:spcBef>
                <a:buFont typeface="+mj-lt"/>
                <a:buAutoNum type="alphaUcPeriod"/>
              </a:pPr>
              <a:endParaRPr lang="en-US" sz="1200" dirty="0"/>
            </a:p>
          </p:txBody>
        </p:sp>
        <p:sp>
          <p:nvSpPr>
            <p:cNvPr id="8" name="Rectangle 7">
              <a:extLst>
                <a:ext uri="{FF2B5EF4-FFF2-40B4-BE49-F238E27FC236}">
                  <a16:creationId xmlns:a16="http://schemas.microsoft.com/office/drawing/2014/main" id="{6DB2890E-2586-4A3C-9286-472BA80A4F57}"/>
                </a:ext>
              </a:extLst>
            </p:cNvPr>
            <p:cNvSpPr/>
            <p:nvPr/>
          </p:nvSpPr>
          <p:spPr>
            <a:xfrm>
              <a:off x="585044" y="855567"/>
              <a:ext cx="5491692" cy="5745594"/>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B108DFE6-8D9D-4F76-B3AB-75A8E166B576}"/>
                </a:ext>
              </a:extLst>
            </p:cNvPr>
            <p:cNvSpPr txBox="1"/>
            <p:nvPr/>
          </p:nvSpPr>
          <p:spPr>
            <a:xfrm>
              <a:off x="585043" y="865045"/>
              <a:ext cx="5491692" cy="6047809"/>
            </a:xfrm>
            <a:prstGeom prst="rect">
              <a:avLst/>
            </a:prstGeom>
            <a:noFill/>
          </p:spPr>
          <p:txBody>
            <a:bodyPr wrap="square" rtlCol="0">
              <a:spAutoFit/>
            </a:bodyPr>
            <a:lstStyle/>
            <a:p>
              <a:pPr>
                <a:spcBef>
                  <a:spcPts val="600"/>
                </a:spcBef>
              </a:pPr>
              <a:r>
                <a:rPr lang="en-US" sz="1400" b="1" dirty="0">
                  <a:solidFill>
                    <a:schemeClr val="tx2"/>
                  </a:solidFill>
                </a:rPr>
                <a:t>1. Conflict Situations:</a:t>
              </a:r>
            </a:p>
            <a:p>
              <a:pPr marL="393700" indent="-228600">
                <a:spcBef>
                  <a:spcPts val="600"/>
                </a:spcBef>
                <a:buFont typeface="+mj-lt"/>
                <a:buAutoNum type="alphaUcPeriod"/>
              </a:pPr>
              <a:r>
                <a:rPr lang="en-US" sz="1200" dirty="0"/>
                <a:t>Inter-Communal Conflict</a:t>
              </a:r>
            </a:p>
            <a:p>
              <a:pPr marL="393700" indent="-228600">
                <a:spcBef>
                  <a:spcPts val="600"/>
                </a:spcBef>
                <a:buFont typeface="+mj-lt"/>
                <a:buAutoNum type="alphaUcPeriod"/>
              </a:pPr>
              <a:r>
                <a:rPr lang="en-US" sz="1200" dirty="0"/>
                <a:t>Ethno-Religious Conflict</a:t>
              </a:r>
            </a:p>
            <a:p>
              <a:pPr marL="393700" indent="-228600">
                <a:spcBef>
                  <a:spcPts val="600"/>
                </a:spcBef>
                <a:buFont typeface="+mj-lt"/>
                <a:buAutoNum type="alphaUcPeriod"/>
              </a:pPr>
              <a:r>
                <a:rPr lang="en-US" sz="1200" dirty="0"/>
                <a:t>IPOB and the enforcement of the Stay-at-Home instruction</a:t>
              </a:r>
            </a:p>
            <a:p>
              <a:pPr marL="393700" indent="-228600">
                <a:spcBef>
                  <a:spcPts val="600"/>
                </a:spcBef>
                <a:buFont typeface="+mj-lt"/>
                <a:buAutoNum type="alphaUcPeriod"/>
              </a:pPr>
              <a:r>
                <a:rPr lang="en-US" sz="1200" dirty="0"/>
                <a:t>Attacks on GSF personnel</a:t>
              </a:r>
            </a:p>
            <a:p>
              <a:pPr marL="393700" indent="-228600">
                <a:spcBef>
                  <a:spcPts val="600"/>
                </a:spcBef>
                <a:buFont typeface="+mj-lt"/>
                <a:buAutoNum type="alphaUcPeriod"/>
              </a:pPr>
              <a:r>
                <a:rPr lang="en-US" sz="1200" dirty="0"/>
                <a:t>Herder/Farmer Conflict</a:t>
              </a:r>
            </a:p>
            <a:p>
              <a:pPr marL="393700" indent="-228600">
                <a:spcBef>
                  <a:spcPts val="600"/>
                </a:spcBef>
                <a:buFont typeface="+mj-lt"/>
                <a:buAutoNum type="alphaUcPeriod"/>
              </a:pPr>
              <a:r>
                <a:rPr lang="en-US" sz="1200" dirty="0"/>
                <a:t>Abductions on Mass Transit Routes (Airports/Railways)</a:t>
              </a:r>
            </a:p>
            <a:p>
              <a:pPr marL="393700" indent="-228600">
                <a:spcBef>
                  <a:spcPts val="600"/>
                </a:spcBef>
                <a:buFont typeface="+mj-lt"/>
                <a:buAutoNum type="alphaUcPeriod"/>
              </a:pPr>
              <a:r>
                <a:rPr lang="en-US" sz="1200" dirty="0"/>
                <a:t>Abductions on Main Supply Routes</a:t>
              </a:r>
            </a:p>
            <a:p>
              <a:pPr marL="393700" indent="-228600">
                <a:spcBef>
                  <a:spcPts val="600"/>
                </a:spcBef>
                <a:buFont typeface="+mj-lt"/>
                <a:buAutoNum type="alphaUcPeriod"/>
              </a:pPr>
              <a:r>
                <a:rPr lang="en-US" sz="1200" dirty="0"/>
                <a:t>Kidnapping on commuter routes</a:t>
              </a:r>
            </a:p>
            <a:p>
              <a:pPr marL="393700" indent="-228600">
                <a:spcBef>
                  <a:spcPts val="600"/>
                </a:spcBef>
                <a:buFont typeface="+mj-lt"/>
                <a:buAutoNum type="alphaUcPeriod"/>
              </a:pPr>
              <a:r>
                <a:rPr lang="en-US" sz="1200" dirty="0"/>
                <a:t>School and Home invasions</a:t>
              </a:r>
            </a:p>
            <a:p>
              <a:pPr marL="393700" indent="-228600">
                <a:spcBef>
                  <a:spcPts val="600"/>
                </a:spcBef>
                <a:buFont typeface="+mj-lt"/>
                <a:buAutoNum type="alphaUcPeriod"/>
              </a:pPr>
              <a:r>
                <a:rPr lang="en-US" sz="1200" dirty="0"/>
                <a:t>Banditry</a:t>
              </a:r>
            </a:p>
            <a:p>
              <a:pPr marL="393700" indent="-228600">
                <a:spcBef>
                  <a:spcPts val="600"/>
                </a:spcBef>
                <a:buFont typeface="+mj-lt"/>
                <a:buAutoNum type="alphaUcPeriod"/>
              </a:pPr>
              <a:r>
                <a:rPr lang="en-US" sz="1200" dirty="0"/>
                <a:t>Attacks and looting of warehouse supplies</a:t>
              </a:r>
            </a:p>
            <a:p>
              <a:pPr marL="393700" indent="-228600">
                <a:spcBef>
                  <a:spcPts val="600"/>
                </a:spcBef>
                <a:buFont typeface="+mj-lt"/>
                <a:buAutoNum type="alphaUcPeriod"/>
              </a:pPr>
              <a:r>
                <a:rPr lang="en-US" sz="1200" dirty="0"/>
                <a:t>Civil Disorder</a:t>
              </a:r>
            </a:p>
            <a:p>
              <a:pPr marL="393700" indent="-228600">
                <a:spcBef>
                  <a:spcPts val="600"/>
                </a:spcBef>
                <a:buFont typeface="+mj-lt"/>
                <a:buAutoNum type="alphaUcPeriod"/>
              </a:pPr>
              <a:r>
                <a:rPr lang="en-US" sz="1200" dirty="0"/>
                <a:t>GSF personnel static checkpoints and demands for payment</a:t>
              </a:r>
            </a:p>
            <a:p>
              <a:pPr marL="393700" indent="-228600">
                <a:spcBef>
                  <a:spcPts val="600"/>
                </a:spcBef>
                <a:buFont typeface="+mj-lt"/>
                <a:buAutoNum type="alphaUcPeriod"/>
              </a:pPr>
              <a:r>
                <a:rPr lang="en-US" sz="1200" dirty="0"/>
                <a:t>Armed attacks by AOGs on Humanitarian HUBS</a:t>
              </a:r>
            </a:p>
            <a:p>
              <a:pPr marL="393700" indent="-228600">
                <a:spcBef>
                  <a:spcPts val="600"/>
                </a:spcBef>
                <a:buFont typeface="+mj-lt"/>
                <a:buAutoNum type="alphaUcPeriod"/>
              </a:pPr>
              <a:r>
                <a:rPr lang="en-US" sz="1200" dirty="0"/>
                <a:t>Suspension of UNHAS flights</a:t>
              </a:r>
            </a:p>
            <a:p>
              <a:pPr marL="393700" indent="-228600">
                <a:spcBef>
                  <a:spcPts val="600"/>
                </a:spcBef>
                <a:buFont typeface="+mj-lt"/>
                <a:buAutoNum type="alphaUcPeriod"/>
              </a:pPr>
              <a:r>
                <a:rPr lang="en-US" sz="1200" dirty="0"/>
                <a:t>Attacks by AOGs on IDPs</a:t>
              </a:r>
            </a:p>
            <a:p>
              <a:pPr marL="393700" indent="-228600">
                <a:spcBef>
                  <a:spcPts val="600"/>
                </a:spcBef>
                <a:buFont typeface="+mj-lt"/>
                <a:buAutoNum type="alphaUcPeriod"/>
              </a:pPr>
              <a:r>
                <a:rPr lang="en-US" sz="1200" dirty="0"/>
                <a:t>Criminal Gangs</a:t>
              </a:r>
            </a:p>
            <a:p>
              <a:pPr marL="393700" indent="-228600">
                <a:spcBef>
                  <a:spcPts val="600"/>
                </a:spcBef>
                <a:buFont typeface="+mj-lt"/>
                <a:buAutoNum type="alphaUcPeriod"/>
              </a:pPr>
              <a:r>
                <a:rPr lang="en-US" sz="1200" dirty="0"/>
                <a:t>Politically motivated violence</a:t>
              </a:r>
            </a:p>
            <a:p>
              <a:pPr marL="393700" indent="-228600">
                <a:spcBef>
                  <a:spcPts val="600"/>
                </a:spcBef>
                <a:buFont typeface="+mj-lt"/>
                <a:buAutoNum type="alphaUcPeriod"/>
              </a:pPr>
              <a:r>
                <a:rPr lang="en-US" sz="1200" dirty="0"/>
                <a:t>Cult Activity</a:t>
              </a:r>
            </a:p>
            <a:p>
              <a:pPr marL="393700" indent="-228600">
                <a:spcBef>
                  <a:spcPts val="600"/>
                </a:spcBef>
                <a:buFont typeface="+mj-lt"/>
                <a:buAutoNum type="alphaUcPeriod"/>
              </a:pPr>
              <a:r>
                <a:rPr lang="en-US" sz="1200" dirty="0"/>
                <a:t>Destruction of Crops and acquisition of local resources by Herders</a:t>
              </a:r>
            </a:p>
            <a:p>
              <a:pPr marL="393700" indent="-228600">
                <a:spcBef>
                  <a:spcPts val="600"/>
                </a:spcBef>
                <a:buFont typeface="+mj-lt"/>
                <a:buAutoNum type="alphaUcPeriod"/>
              </a:pPr>
              <a:r>
                <a:rPr lang="en-US" sz="1200" dirty="0"/>
                <a:t>Food insecurity leading to protest action by communities</a:t>
              </a:r>
            </a:p>
            <a:p>
              <a:pPr marL="285750" indent="-285750">
                <a:buFont typeface="Arial" panose="020B0604020202020204" pitchFamily="34" charset="0"/>
                <a:buChar char="•"/>
              </a:pPr>
              <a:endParaRPr lang="en-US" sz="1600" dirty="0"/>
            </a:p>
          </p:txBody>
        </p:sp>
      </p:grpSp>
      <p:pic>
        <p:nvPicPr>
          <p:cNvPr id="14" name="Picture 13">
            <a:extLst>
              <a:ext uri="{FF2B5EF4-FFF2-40B4-BE49-F238E27FC236}">
                <a16:creationId xmlns:a16="http://schemas.microsoft.com/office/drawing/2014/main" id="{CDE613CF-B623-4E15-A231-3D651690A1B2}"/>
              </a:ext>
            </a:extLst>
          </p:cNvPr>
          <p:cNvPicPr>
            <a:picLocks noChangeAspect="1"/>
          </p:cNvPicPr>
          <p:nvPr/>
        </p:nvPicPr>
        <p:blipFill>
          <a:blip r:embed="rId3"/>
          <a:srcRect/>
          <a:stretch/>
        </p:blipFill>
        <p:spPr>
          <a:xfrm>
            <a:off x="10376033" y="279672"/>
            <a:ext cx="1480466" cy="404539"/>
          </a:xfrm>
          <a:prstGeom prst="rect">
            <a:avLst/>
          </a:prstGeom>
        </p:spPr>
      </p:pic>
    </p:spTree>
    <p:extLst>
      <p:ext uri="{BB962C8B-B14F-4D97-AF65-F5344CB8AC3E}">
        <p14:creationId xmlns:p14="http://schemas.microsoft.com/office/powerpoint/2010/main" val="194333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62C20A-A878-4D1A-8123-B09D506DEAAD}"/>
              </a:ext>
            </a:extLst>
          </p:cNvPr>
          <p:cNvSpPr/>
          <p:nvPr/>
        </p:nvSpPr>
        <p:spPr>
          <a:xfrm>
            <a:off x="1022200" y="1132647"/>
            <a:ext cx="10147601" cy="5100687"/>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A57D3155-6872-4C9F-B811-CF366ED00BD7}"/>
              </a:ext>
            </a:extLst>
          </p:cNvPr>
          <p:cNvSpPr txBox="1"/>
          <p:nvPr/>
        </p:nvSpPr>
        <p:spPr>
          <a:xfrm>
            <a:off x="1723671" y="141734"/>
            <a:ext cx="8788893" cy="646331"/>
          </a:xfrm>
          <a:prstGeom prst="rect">
            <a:avLst/>
          </a:prstGeom>
          <a:noFill/>
        </p:spPr>
        <p:txBody>
          <a:bodyPr wrap="square" rtlCol="0">
            <a:spAutoFit/>
          </a:bodyPr>
          <a:lstStyle/>
          <a:p>
            <a:pPr algn="ctr"/>
            <a:r>
              <a:rPr lang="en-US" sz="3600" b="1" dirty="0">
                <a:solidFill>
                  <a:schemeClr val="bg1"/>
                </a:solidFill>
              </a:rPr>
              <a:t>Source:</a:t>
            </a:r>
          </a:p>
        </p:txBody>
      </p:sp>
      <p:sp>
        <p:nvSpPr>
          <p:cNvPr id="18" name="TextBox 17">
            <a:extLst>
              <a:ext uri="{FF2B5EF4-FFF2-40B4-BE49-F238E27FC236}">
                <a16:creationId xmlns:a16="http://schemas.microsoft.com/office/drawing/2014/main" id="{BAB8C8B2-C19A-4877-9C57-E3D6D748AC20}"/>
              </a:ext>
            </a:extLst>
          </p:cNvPr>
          <p:cNvSpPr txBox="1"/>
          <p:nvPr/>
        </p:nvSpPr>
        <p:spPr>
          <a:xfrm>
            <a:off x="1180730" y="2268353"/>
            <a:ext cx="9712171" cy="2839367"/>
          </a:xfrm>
          <a:prstGeom prst="rect">
            <a:avLst/>
          </a:prstGeom>
          <a:noFill/>
        </p:spPr>
        <p:txBody>
          <a:bodyPr wrap="square" rtlCol="0">
            <a:spAutoFit/>
          </a:bodyPr>
          <a:lstStyle/>
          <a:p>
            <a:pPr marL="0" marR="0">
              <a:lnSpc>
                <a:spcPct val="107000"/>
              </a:lnSpc>
              <a:spcBef>
                <a:spcPts val="600"/>
              </a:spcBef>
              <a:spcAft>
                <a:spcPts val="600"/>
              </a:spcAft>
            </a:pPr>
            <a:r>
              <a:rPr lang="en-US" sz="2400" b="1" i="1" dirty="0">
                <a:effectLst/>
                <a:latin typeface="Gill Sans MT" panose="020B0502020104020203" pitchFamily="34" charset="0"/>
                <a:ea typeface="Calibri" panose="020F0502020204030204" pitchFamily="34" charset="0"/>
                <a:cs typeface="Arial" panose="020B0604020202020204" pitchFamily="34" charset="0"/>
              </a:rPr>
              <a:t>Sources</a:t>
            </a:r>
            <a:r>
              <a:rPr lang="en-US" sz="2400" b="1" i="1" dirty="0">
                <a:solidFill>
                  <a:srgbClr val="767171"/>
                </a:solidFill>
                <a:effectLst/>
                <a:latin typeface="Gill Sans MT" panose="020B0502020104020203" pitchFamily="34" charset="0"/>
                <a:ea typeface="Calibri" panose="020F0502020204030204" pitchFamily="34" charset="0"/>
                <a:cs typeface="Arial" panose="020B0604020202020204" pitchFamily="34" charset="0"/>
              </a:rPr>
              <a:t>: </a:t>
            </a:r>
            <a:r>
              <a:rPr lang="en-US" sz="2400" i="1" dirty="0">
                <a:solidFill>
                  <a:srgbClr val="767171"/>
                </a:solidFill>
                <a:effectLst/>
                <a:latin typeface="Gill Sans MT" panose="020B0502020104020203" pitchFamily="34" charset="0"/>
                <a:ea typeface="Calibri" panose="020F0502020204030204" pitchFamily="34" charset="0"/>
                <a:cs typeface="Arial" panose="020B0604020202020204" pitchFamily="34" charset="0"/>
              </a:rPr>
              <a:t>The PLSO team draw the information contained in this report from multiple sources, to ensure as far as is practically possible, information is validated through triangulation/corroboration. Sources include: UNDSS, curated datasets provided by the </a:t>
            </a:r>
            <a:r>
              <a:rPr lang="en-US" sz="2400" i="1" dirty="0">
                <a:solidFill>
                  <a:srgbClr val="767171"/>
                </a:solidFill>
                <a:effectLst/>
                <a:latin typeface="Gill Sans MT" panose="020B0502020104020203" pitchFamily="34" charset="0"/>
                <a:ea typeface="Calibri" panose="020F0502020204030204" pitchFamily="34" charset="0"/>
                <a:cs typeface="Arial" panose="020B0604020202020204" pitchFamily="34" charset="0"/>
                <a:hlinkClick r:id="rId2"/>
              </a:rPr>
              <a:t>Armed Conflict Location and Event Data Project (ACLED)</a:t>
            </a:r>
            <a:r>
              <a:rPr lang="en-US" sz="2400" i="1" dirty="0">
                <a:solidFill>
                  <a:srgbClr val="767171"/>
                </a:solidFill>
                <a:effectLst/>
                <a:latin typeface="Gill Sans MT" panose="020B0502020104020203" pitchFamily="34" charset="0"/>
                <a:ea typeface="Calibri" panose="020F0502020204030204" pitchFamily="34" charset="0"/>
                <a:cs typeface="Arial" panose="020B0604020202020204" pitchFamily="34" charset="0"/>
              </a:rPr>
              <a:t> www.acleddata.com, the Aid Worker Security Database (AWSD), </a:t>
            </a:r>
            <a:r>
              <a:rPr lang="en-US" sz="2400" i="1" dirty="0">
                <a:solidFill>
                  <a:srgbClr val="767171"/>
                </a:solidFill>
                <a:effectLst/>
                <a:latin typeface="Gill Sans MT" panose="020B0502020104020203" pitchFamily="34" charset="0"/>
                <a:ea typeface="Calibri" panose="020F0502020204030204" pitchFamily="34" charset="0"/>
                <a:cs typeface="Arial" panose="020B0604020202020204" pitchFamily="34" charset="0"/>
                <a:hlinkClick r:id="rId3"/>
              </a:rPr>
              <a:t>Intelligence Fusion</a:t>
            </a:r>
            <a:r>
              <a:rPr lang="en-US" sz="2400" i="1" dirty="0">
                <a:solidFill>
                  <a:srgbClr val="767171"/>
                </a:solidFill>
                <a:effectLst/>
                <a:latin typeface="Gill Sans MT" panose="020B0502020104020203" pitchFamily="34" charset="0"/>
                <a:ea typeface="Calibri" panose="020F0502020204030204" pitchFamily="34" charset="0"/>
                <a:cs typeface="Arial" panose="020B0604020202020204" pitchFamily="34" charset="0"/>
              </a:rPr>
              <a:t>, ad hoc security reporting, as well as peer security risk management professionals, international commercial organizations, the media, and host nation government.</a:t>
            </a:r>
            <a:endParaRPr lang="en-US" sz="2400" dirty="0">
              <a:effectLst/>
              <a:latin typeface="Calibri" panose="020F0502020204030204" pitchFamily="34" charset="0"/>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BC17CD93-1092-4A6E-9435-8AF29AB25EE2}"/>
              </a:ext>
            </a:extLst>
          </p:cNvPr>
          <p:cNvPicPr>
            <a:picLocks noChangeAspect="1"/>
          </p:cNvPicPr>
          <p:nvPr/>
        </p:nvPicPr>
        <p:blipFill>
          <a:blip r:embed="rId4"/>
          <a:srcRect/>
          <a:stretch/>
        </p:blipFill>
        <p:spPr>
          <a:xfrm>
            <a:off x="10376033" y="279672"/>
            <a:ext cx="1480466" cy="404539"/>
          </a:xfrm>
          <a:prstGeom prst="rect">
            <a:avLst/>
          </a:prstGeom>
        </p:spPr>
      </p:pic>
    </p:spTree>
    <p:extLst>
      <p:ext uri="{BB962C8B-B14F-4D97-AF65-F5344CB8AC3E}">
        <p14:creationId xmlns:p14="http://schemas.microsoft.com/office/powerpoint/2010/main" val="1462827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C275DEC-2AD5-4D47-855E-F55AC999AB51}"/>
              </a:ext>
            </a:extLst>
          </p:cNvPr>
          <p:cNvSpPr/>
          <p:nvPr/>
        </p:nvSpPr>
        <p:spPr>
          <a:xfrm>
            <a:off x="936817" y="951334"/>
            <a:ext cx="10251346" cy="5577920"/>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AC8C9A97-D469-469E-8FA6-CC2267770D6D}"/>
              </a:ext>
            </a:extLst>
          </p:cNvPr>
          <p:cNvSpPr txBox="1"/>
          <p:nvPr/>
        </p:nvSpPr>
        <p:spPr>
          <a:xfrm>
            <a:off x="1407073" y="130452"/>
            <a:ext cx="87888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Security Risk Rating by State</a:t>
            </a:r>
          </a:p>
        </p:txBody>
      </p:sp>
      <p:pic>
        <p:nvPicPr>
          <p:cNvPr id="15" name="Picture 14">
            <a:extLst>
              <a:ext uri="{FF2B5EF4-FFF2-40B4-BE49-F238E27FC236}">
                <a16:creationId xmlns:a16="http://schemas.microsoft.com/office/drawing/2014/main" id="{A3C433FB-031D-4E93-A3FA-5484D76D4631}"/>
              </a:ext>
            </a:extLst>
          </p:cNvPr>
          <p:cNvPicPr>
            <a:picLocks noChangeAspect="1"/>
          </p:cNvPicPr>
          <p:nvPr/>
        </p:nvPicPr>
        <p:blipFill>
          <a:blip r:embed="rId3"/>
          <a:srcRect/>
          <a:stretch/>
        </p:blipFill>
        <p:spPr>
          <a:xfrm>
            <a:off x="10376033" y="279672"/>
            <a:ext cx="1480466" cy="404539"/>
          </a:xfrm>
          <a:prstGeom prst="rect">
            <a:avLst/>
          </a:prstGeom>
        </p:spPr>
      </p:pic>
      <p:pic>
        <p:nvPicPr>
          <p:cNvPr id="96" name="Graphic 95">
            <a:extLst>
              <a:ext uri="{FF2B5EF4-FFF2-40B4-BE49-F238E27FC236}">
                <a16:creationId xmlns:a16="http://schemas.microsoft.com/office/drawing/2014/main" id="{CEF5D59B-2469-3D31-8E1E-6C24D167B5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29526" y="3799742"/>
            <a:ext cx="1565435" cy="2265312"/>
          </a:xfrm>
          <a:prstGeom prst="rect">
            <a:avLst/>
          </a:prstGeom>
        </p:spPr>
      </p:pic>
      <p:grpSp>
        <p:nvGrpSpPr>
          <p:cNvPr id="3" name="Group 2">
            <a:extLst>
              <a:ext uri="{FF2B5EF4-FFF2-40B4-BE49-F238E27FC236}">
                <a16:creationId xmlns:a16="http://schemas.microsoft.com/office/drawing/2014/main" id="{B4B16292-10EC-0E57-C567-B936763FB287}"/>
              </a:ext>
            </a:extLst>
          </p:cNvPr>
          <p:cNvGrpSpPr/>
          <p:nvPr/>
        </p:nvGrpSpPr>
        <p:grpSpPr>
          <a:xfrm>
            <a:off x="1978503" y="1406861"/>
            <a:ext cx="8594036" cy="4868066"/>
            <a:chOff x="1978503" y="1406861"/>
            <a:chExt cx="8594036" cy="4868066"/>
          </a:xfrm>
        </p:grpSpPr>
        <p:grpSp>
          <p:nvGrpSpPr>
            <p:cNvPr id="12" name="Group 11">
              <a:extLst>
                <a:ext uri="{FF2B5EF4-FFF2-40B4-BE49-F238E27FC236}">
                  <a16:creationId xmlns:a16="http://schemas.microsoft.com/office/drawing/2014/main" id="{D3186D12-4594-1334-F213-72859B6E0C18}"/>
                </a:ext>
              </a:extLst>
            </p:cNvPr>
            <p:cNvGrpSpPr/>
            <p:nvPr/>
          </p:nvGrpSpPr>
          <p:grpSpPr>
            <a:xfrm>
              <a:off x="1978503" y="1406861"/>
              <a:ext cx="7132269" cy="4785762"/>
              <a:chOff x="5131741" y="2487878"/>
              <a:chExt cx="4947089" cy="3353659"/>
            </a:xfrm>
          </p:grpSpPr>
          <p:grpSp>
            <p:nvGrpSpPr>
              <p:cNvPr id="18" name="Gruppieren 3">
                <a:extLst>
                  <a:ext uri="{FF2B5EF4-FFF2-40B4-BE49-F238E27FC236}">
                    <a16:creationId xmlns:a16="http://schemas.microsoft.com/office/drawing/2014/main" id="{D88353C4-3435-B8E6-DFF4-4EB98ED79E8D}"/>
                  </a:ext>
                </a:extLst>
              </p:cNvPr>
              <p:cNvGrpSpPr/>
              <p:nvPr/>
            </p:nvGrpSpPr>
            <p:grpSpPr>
              <a:xfrm>
                <a:off x="5906430" y="2487878"/>
                <a:ext cx="4172400" cy="3353659"/>
                <a:chOff x="4382430" y="2281048"/>
                <a:chExt cx="4172400" cy="3353659"/>
              </a:xfrm>
              <a:effectLst>
                <a:outerShdw blurRad="127000" dist="50800" dir="2700000" algn="tl" rotWithShape="0">
                  <a:prstClr val="black">
                    <a:alpha val="40000"/>
                  </a:prstClr>
                </a:outerShdw>
              </a:effectLst>
            </p:grpSpPr>
            <p:sp>
              <p:nvSpPr>
                <p:cNvPr id="57" name="Freeform 542">
                  <a:extLst>
                    <a:ext uri="{FF2B5EF4-FFF2-40B4-BE49-F238E27FC236}">
                      <a16:creationId xmlns:a16="http://schemas.microsoft.com/office/drawing/2014/main" id="{1FA1AF8F-9FF7-1238-B713-033F60C15FDA}"/>
                    </a:ext>
                  </a:extLst>
                </p:cNvPr>
                <p:cNvSpPr>
                  <a:spLocks noChangeAspect="1"/>
                </p:cNvSpPr>
                <p:nvPr/>
              </p:nvSpPr>
              <p:spPr bwMode="auto">
                <a:xfrm>
                  <a:off x="7468305" y="2342096"/>
                  <a:ext cx="1086525" cy="1321513"/>
                </a:xfrm>
                <a:custGeom>
                  <a:avLst/>
                  <a:gdLst>
                    <a:gd name="T0" fmla="*/ 2757 w 2778"/>
                    <a:gd name="T1" fmla="*/ 1378 h 3379"/>
                    <a:gd name="T2" fmla="*/ 2657 w 2778"/>
                    <a:gd name="T3" fmla="*/ 1334 h 3379"/>
                    <a:gd name="T4" fmla="*/ 2631 w 2778"/>
                    <a:gd name="T5" fmla="*/ 1255 h 3379"/>
                    <a:gd name="T6" fmla="*/ 2518 w 2778"/>
                    <a:gd name="T7" fmla="*/ 1226 h 3379"/>
                    <a:gd name="T8" fmla="*/ 2411 w 2778"/>
                    <a:gd name="T9" fmla="*/ 1215 h 3379"/>
                    <a:gd name="T10" fmla="*/ 2335 w 2778"/>
                    <a:gd name="T11" fmla="*/ 1179 h 3379"/>
                    <a:gd name="T12" fmla="*/ 2342 w 2778"/>
                    <a:gd name="T13" fmla="*/ 1096 h 3379"/>
                    <a:gd name="T14" fmla="*/ 1598 w 2778"/>
                    <a:gd name="T15" fmla="*/ 3 h 3379"/>
                    <a:gd name="T16" fmla="*/ 1492 w 2778"/>
                    <a:gd name="T17" fmla="*/ 130 h 3379"/>
                    <a:gd name="T18" fmla="*/ 1420 w 2778"/>
                    <a:gd name="T19" fmla="*/ 182 h 3379"/>
                    <a:gd name="T20" fmla="*/ 1346 w 2778"/>
                    <a:gd name="T21" fmla="*/ 155 h 3379"/>
                    <a:gd name="T22" fmla="*/ 1196 w 2778"/>
                    <a:gd name="T23" fmla="*/ 202 h 3379"/>
                    <a:gd name="T24" fmla="*/ 1147 w 2778"/>
                    <a:gd name="T25" fmla="*/ 248 h 3379"/>
                    <a:gd name="T26" fmla="*/ 1075 w 2778"/>
                    <a:gd name="T27" fmla="*/ 327 h 3379"/>
                    <a:gd name="T28" fmla="*/ 1004 w 2778"/>
                    <a:gd name="T29" fmla="*/ 403 h 3379"/>
                    <a:gd name="T30" fmla="*/ 912 w 2778"/>
                    <a:gd name="T31" fmla="*/ 427 h 3379"/>
                    <a:gd name="T32" fmla="*/ 887 w 2778"/>
                    <a:gd name="T33" fmla="*/ 507 h 3379"/>
                    <a:gd name="T34" fmla="*/ 818 w 2778"/>
                    <a:gd name="T35" fmla="*/ 588 h 3379"/>
                    <a:gd name="T36" fmla="*/ 733 w 2778"/>
                    <a:gd name="T37" fmla="*/ 665 h 3379"/>
                    <a:gd name="T38" fmla="*/ 786 w 2778"/>
                    <a:gd name="T39" fmla="*/ 899 h 3379"/>
                    <a:gd name="T40" fmla="*/ 747 w 2778"/>
                    <a:gd name="T41" fmla="*/ 1037 h 3379"/>
                    <a:gd name="T42" fmla="*/ 637 w 2778"/>
                    <a:gd name="T43" fmla="*/ 1267 h 3379"/>
                    <a:gd name="T44" fmla="*/ 594 w 2778"/>
                    <a:gd name="T45" fmla="*/ 1712 h 3379"/>
                    <a:gd name="T46" fmla="*/ 545 w 2778"/>
                    <a:gd name="T47" fmla="*/ 1820 h 3379"/>
                    <a:gd name="T48" fmla="*/ 623 w 2778"/>
                    <a:gd name="T49" fmla="*/ 1908 h 3379"/>
                    <a:gd name="T50" fmla="*/ 663 w 2778"/>
                    <a:gd name="T51" fmla="*/ 1987 h 3379"/>
                    <a:gd name="T52" fmla="*/ 589 w 2778"/>
                    <a:gd name="T53" fmla="*/ 2092 h 3379"/>
                    <a:gd name="T54" fmla="*/ 501 w 2778"/>
                    <a:gd name="T55" fmla="*/ 2192 h 3379"/>
                    <a:gd name="T56" fmla="*/ 495 w 2778"/>
                    <a:gd name="T57" fmla="*/ 2344 h 3379"/>
                    <a:gd name="T58" fmla="*/ 414 w 2778"/>
                    <a:gd name="T59" fmla="*/ 2461 h 3379"/>
                    <a:gd name="T60" fmla="*/ 228 w 2778"/>
                    <a:gd name="T61" fmla="*/ 2528 h 3379"/>
                    <a:gd name="T62" fmla="*/ 137 w 2778"/>
                    <a:gd name="T63" fmla="*/ 2596 h 3379"/>
                    <a:gd name="T64" fmla="*/ 111 w 2778"/>
                    <a:gd name="T65" fmla="*/ 2793 h 3379"/>
                    <a:gd name="T66" fmla="*/ 14 w 2778"/>
                    <a:gd name="T67" fmla="*/ 2874 h 3379"/>
                    <a:gd name="T68" fmla="*/ 155 w 2778"/>
                    <a:gd name="T69" fmla="*/ 2954 h 3379"/>
                    <a:gd name="T70" fmla="*/ 44 w 2778"/>
                    <a:gd name="T71" fmla="*/ 3019 h 3379"/>
                    <a:gd name="T72" fmla="*/ 0 w 2778"/>
                    <a:gd name="T73" fmla="*/ 3103 h 3379"/>
                    <a:gd name="T74" fmla="*/ 64 w 2778"/>
                    <a:gd name="T75" fmla="*/ 3176 h 3379"/>
                    <a:gd name="T76" fmla="*/ 146 w 2778"/>
                    <a:gd name="T77" fmla="*/ 3232 h 3379"/>
                    <a:gd name="T78" fmla="*/ 241 w 2778"/>
                    <a:gd name="T79" fmla="*/ 3342 h 3379"/>
                    <a:gd name="T80" fmla="*/ 405 w 2778"/>
                    <a:gd name="T81" fmla="*/ 3372 h 3379"/>
                    <a:gd name="T82" fmla="*/ 478 w 2778"/>
                    <a:gd name="T83" fmla="*/ 3269 h 3379"/>
                    <a:gd name="T84" fmla="*/ 575 w 2778"/>
                    <a:gd name="T85" fmla="*/ 3145 h 3379"/>
                    <a:gd name="T86" fmla="*/ 693 w 2778"/>
                    <a:gd name="T87" fmla="*/ 3075 h 3379"/>
                    <a:gd name="T88" fmla="*/ 961 w 2778"/>
                    <a:gd name="T89" fmla="*/ 2994 h 3379"/>
                    <a:gd name="T90" fmla="*/ 1046 w 2778"/>
                    <a:gd name="T91" fmla="*/ 2905 h 3379"/>
                    <a:gd name="T92" fmla="*/ 1206 w 2778"/>
                    <a:gd name="T93" fmla="*/ 2859 h 3379"/>
                    <a:gd name="T94" fmla="*/ 1331 w 2778"/>
                    <a:gd name="T95" fmla="*/ 2939 h 3379"/>
                    <a:gd name="T96" fmla="*/ 1511 w 2778"/>
                    <a:gd name="T97" fmla="*/ 2901 h 3379"/>
                    <a:gd name="T98" fmla="*/ 1537 w 2778"/>
                    <a:gd name="T99" fmla="*/ 2774 h 3379"/>
                    <a:gd name="T100" fmla="*/ 1593 w 2778"/>
                    <a:gd name="T101" fmla="*/ 2621 h 3379"/>
                    <a:gd name="T102" fmla="*/ 1802 w 2778"/>
                    <a:gd name="T103" fmla="*/ 2539 h 3379"/>
                    <a:gd name="T104" fmla="*/ 1917 w 2778"/>
                    <a:gd name="T105" fmla="*/ 2463 h 3379"/>
                    <a:gd name="T106" fmla="*/ 1990 w 2778"/>
                    <a:gd name="T107" fmla="*/ 2441 h 3379"/>
                    <a:gd name="T108" fmla="*/ 2064 w 2778"/>
                    <a:gd name="T109" fmla="*/ 2313 h 3379"/>
                    <a:gd name="T110" fmla="*/ 2128 w 2778"/>
                    <a:gd name="T111" fmla="*/ 2227 h 3379"/>
                    <a:gd name="T112" fmla="*/ 2281 w 2778"/>
                    <a:gd name="T113" fmla="*/ 2215 h 3379"/>
                    <a:gd name="T114" fmla="*/ 2432 w 2778"/>
                    <a:gd name="T115" fmla="*/ 2129 h 3379"/>
                    <a:gd name="T116" fmla="*/ 2578 w 2778"/>
                    <a:gd name="T117" fmla="*/ 2029 h 3379"/>
                    <a:gd name="T118" fmla="*/ 2744 w 2778"/>
                    <a:gd name="T119" fmla="*/ 1887 h 3379"/>
                    <a:gd name="T120" fmla="*/ 2662 w 2778"/>
                    <a:gd name="T121" fmla="*/ 1805 h 3379"/>
                    <a:gd name="T122" fmla="*/ 2752 w 2778"/>
                    <a:gd name="T123" fmla="*/ 1582 h 3379"/>
                    <a:gd name="T124" fmla="*/ 2738 w 2778"/>
                    <a:gd name="T125" fmla="*/ 1473 h 3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8" h="3379">
                      <a:moveTo>
                        <a:pt x="2758" y="1424"/>
                      </a:moveTo>
                      <a:cubicBezTo>
                        <a:pt x="2778" y="1407"/>
                        <a:pt x="2778" y="1407"/>
                        <a:pt x="2778" y="1407"/>
                      </a:cubicBezTo>
                      <a:cubicBezTo>
                        <a:pt x="2778" y="1407"/>
                        <a:pt x="2766" y="1381"/>
                        <a:pt x="2757" y="1378"/>
                      </a:cubicBezTo>
                      <a:cubicBezTo>
                        <a:pt x="2748" y="1375"/>
                        <a:pt x="2748" y="1383"/>
                        <a:pt x="2731" y="1385"/>
                      </a:cubicBezTo>
                      <a:cubicBezTo>
                        <a:pt x="2714" y="1387"/>
                        <a:pt x="2715" y="1372"/>
                        <a:pt x="2715" y="1358"/>
                      </a:cubicBezTo>
                      <a:cubicBezTo>
                        <a:pt x="2715" y="1344"/>
                        <a:pt x="2657" y="1334"/>
                        <a:pt x="2657" y="1334"/>
                      </a:cubicBezTo>
                      <a:cubicBezTo>
                        <a:pt x="2657" y="1334"/>
                        <a:pt x="2655" y="1307"/>
                        <a:pt x="2655" y="1298"/>
                      </a:cubicBezTo>
                      <a:cubicBezTo>
                        <a:pt x="2655" y="1289"/>
                        <a:pt x="2633" y="1279"/>
                        <a:pt x="2633" y="1279"/>
                      </a:cubicBezTo>
                      <a:cubicBezTo>
                        <a:pt x="2633" y="1279"/>
                        <a:pt x="2632" y="1269"/>
                        <a:pt x="2631" y="1255"/>
                      </a:cubicBezTo>
                      <a:cubicBezTo>
                        <a:pt x="2630" y="1241"/>
                        <a:pt x="2609" y="1235"/>
                        <a:pt x="2603" y="1233"/>
                      </a:cubicBezTo>
                      <a:cubicBezTo>
                        <a:pt x="2597" y="1231"/>
                        <a:pt x="2593" y="1238"/>
                        <a:pt x="2582" y="1238"/>
                      </a:cubicBezTo>
                      <a:cubicBezTo>
                        <a:pt x="2571" y="1238"/>
                        <a:pt x="2528" y="1226"/>
                        <a:pt x="2518" y="1226"/>
                      </a:cubicBezTo>
                      <a:cubicBezTo>
                        <a:pt x="2508" y="1226"/>
                        <a:pt x="2494" y="1223"/>
                        <a:pt x="2471" y="1216"/>
                      </a:cubicBezTo>
                      <a:cubicBezTo>
                        <a:pt x="2448" y="1209"/>
                        <a:pt x="2452" y="1225"/>
                        <a:pt x="2439" y="1228"/>
                      </a:cubicBezTo>
                      <a:cubicBezTo>
                        <a:pt x="2426" y="1231"/>
                        <a:pt x="2416" y="1217"/>
                        <a:pt x="2411" y="1215"/>
                      </a:cubicBezTo>
                      <a:cubicBezTo>
                        <a:pt x="2406" y="1213"/>
                        <a:pt x="2402" y="1221"/>
                        <a:pt x="2390" y="1232"/>
                      </a:cubicBezTo>
                      <a:cubicBezTo>
                        <a:pt x="2378" y="1243"/>
                        <a:pt x="2377" y="1234"/>
                        <a:pt x="2361" y="1216"/>
                      </a:cubicBezTo>
                      <a:cubicBezTo>
                        <a:pt x="2345" y="1198"/>
                        <a:pt x="2335" y="1179"/>
                        <a:pt x="2335" y="1179"/>
                      </a:cubicBezTo>
                      <a:cubicBezTo>
                        <a:pt x="2335" y="1179"/>
                        <a:pt x="2339" y="1164"/>
                        <a:pt x="2340" y="1154"/>
                      </a:cubicBezTo>
                      <a:cubicBezTo>
                        <a:pt x="2341" y="1144"/>
                        <a:pt x="2327" y="1130"/>
                        <a:pt x="2327" y="1130"/>
                      </a:cubicBezTo>
                      <a:cubicBezTo>
                        <a:pt x="2342" y="1096"/>
                        <a:pt x="2342" y="1096"/>
                        <a:pt x="2342" y="1096"/>
                      </a:cubicBezTo>
                      <a:cubicBezTo>
                        <a:pt x="2243" y="571"/>
                        <a:pt x="2243" y="571"/>
                        <a:pt x="2243" y="571"/>
                      </a:cubicBezTo>
                      <a:cubicBezTo>
                        <a:pt x="1843" y="0"/>
                        <a:pt x="1843" y="0"/>
                        <a:pt x="1843" y="0"/>
                      </a:cubicBezTo>
                      <a:cubicBezTo>
                        <a:pt x="1598" y="3"/>
                        <a:pt x="1598" y="3"/>
                        <a:pt x="1598" y="3"/>
                      </a:cubicBezTo>
                      <a:cubicBezTo>
                        <a:pt x="1598" y="3"/>
                        <a:pt x="1518" y="87"/>
                        <a:pt x="1515" y="92"/>
                      </a:cubicBezTo>
                      <a:cubicBezTo>
                        <a:pt x="1512" y="97"/>
                        <a:pt x="1519" y="113"/>
                        <a:pt x="1519" y="113"/>
                      </a:cubicBezTo>
                      <a:cubicBezTo>
                        <a:pt x="1519" y="113"/>
                        <a:pt x="1495" y="127"/>
                        <a:pt x="1492" y="130"/>
                      </a:cubicBezTo>
                      <a:cubicBezTo>
                        <a:pt x="1489" y="133"/>
                        <a:pt x="1491" y="153"/>
                        <a:pt x="1480" y="168"/>
                      </a:cubicBezTo>
                      <a:cubicBezTo>
                        <a:pt x="1469" y="183"/>
                        <a:pt x="1450" y="165"/>
                        <a:pt x="1450" y="165"/>
                      </a:cubicBezTo>
                      <a:cubicBezTo>
                        <a:pt x="1420" y="182"/>
                        <a:pt x="1420" y="182"/>
                        <a:pt x="1420" y="182"/>
                      </a:cubicBezTo>
                      <a:cubicBezTo>
                        <a:pt x="1405" y="156"/>
                        <a:pt x="1405" y="156"/>
                        <a:pt x="1405" y="156"/>
                      </a:cubicBezTo>
                      <a:cubicBezTo>
                        <a:pt x="1372" y="179"/>
                        <a:pt x="1372" y="179"/>
                        <a:pt x="1372" y="179"/>
                      </a:cubicBezTo>
                      <a:cubicBezTo>
                        <a:pt x="1346" y="155"/>
                        <a:pt x="1346" y="155"/>
                        <a:pt x="1346" y="155"/>
                      </a:cubicBezTo>
                      <a:cubicBezTo>
                        <a:pt x="1346" y="155"/>
                        <a:pt x="1321" y="181"/>
                        <a:pt x="1296" y="181"/>
                      </a:cubicBezTo>
                      <a:cubicBezTo>
                        <a:pt x="1271" y="181"/>
                        <a:pt x="1219" y="204"/>
                        <a:pt x="1219" y="204"/>
                      </a:cubicBezTo>
                      <a:cubicBezTo>
                        <a:pt x="1196" y="202"/>
                        <a:pt x="1196" y="202"/>
                        <a:pt x="1196" y="202"/>
                      </a:cubicBezTo>
                      <a:cubicBezTo>
                        <a:pt x="1160" y="217"/>
                        <a:pt x="1160" y="217"/>
                        <a:pt x="1160" y="217"/>
                      </a:cubicBezTo>
                      <a:cubicBezTo>
                        <a:pt x="1161" y="247"/>
                        <a:pt x="1161" y="247"/>
                        <a:pt x="1161" y="247"/>
                      </a:cubicBezTo>
                      <a:cubicBezTo>
                        <a:pt x="1147" y="248"/>
                        <a:pt x="1147" y="248"/>
                        <a:pt x="1147" y="248"/>
                      </a:cubicBezTo>
                      <a:cubicBezTo>
                        <a:pt x="1126" y="268"/>
                        <a:pt x="1126" y="268"/>
                        <a:pt x="1126" y="268"/>
                      </a:cubicBezTo>
                      <a:cubicBezTo>
                        <a:pt x="1126" y="268"/>
                        <a:pt x="1124" y="302"/>
                        <a:pt x="1116" y="310"/>
                      </a:cubicBezTo>
                      <a:cubicBezTo>
                        <a:pt x="1108" y="318"/>
                        <a:pt x="1085" y="322"/>
                        <a:pt x="1075" y="327"/>
                      </a:cubicBezTo>
                      <a:cubicBezTo>
                        <a:pt x="1065" y="332"/>
                        <a:pt x="1062" y="345"/>
                        <a:pt x="1055" y="357"/>
                      </a:cubicBezTo>
                      <a:cubicBezTo>
                        <a:pt x="1048" y="369"/>
                        <a:pt x="1022" y="369"/>
                        <a:pt x="1022" y="369"/>
                      </a:cubicBezTo>
                      <a:cubicBezTo>
                        <a:pt x="1022" y="369"/>
                        <a:pt x="1017" y="399"/>
                        <a:pt x="1004" y="403"/>
                      </a:cubicBezTo>
                      <a:cubicBezTo>
                        <a:pt x="991" y="407"/>
                        <a:pt x="975" y="382"/>
                        <a:pt x="975" y="382"/>
                      </a:cubicBezTo>
                      <a:cubicBezTo>
                        <a:pt x="975" y="382"/>
                        <a:pt x="955" y="392"/>
                        <a:pt x="948" y="393"/>
                      </a:cubicBezTo>
                      <a:cubicBezTo>
                        <a:pt x="941" y="394"/>
                        <a:pt x="930" y="414"/>
                        <a:pt x="912" y="427"/>
                      </a:cubicBezTo>
                      <a:cubicBezTo>
                        <a:pt x="894" y="440"/>
                        <a:pt x="879" y="470"/>
                        <a:pt x="879" y="470"/>
                      </a:cubicBezTo>
                      <a:cubicBezTo>
                        <a:pt x="902" y="477"/>
                        <a:pt x="902" y="477"/>
                        <a:pt x="902" y="477"/>
                      </a:cubicBezTo>
                      <a:cubicBezTo>
                        <a:pt x="902" y="477"/>
                        <a:pt x="896" y="489"/>
                        <a:pt x="887" y="507"/>
                      </a:cubicBezTo>
                      <a:cubicBezTo>
                        <a:pt x="878" y="525"/>
                        <a:pt x="860" y="517"/>
                        <a:pt x="843" y="527"/>
                      </a:cubicBezTo>
                      <a:cubicBezTo>
                        <a:pt x="826" y="537"/>
                        <a:pt x="844" y="552"/>
                        <a:pt x="844" y="552"/>
                      </a:cubicBezTo>
                      <a:cubicBezTo>
                        <a:pt x="844" y="552"/>
                        <a:pt x="823" y="582"/>
                        <a:pt x="818" y="588"/>
                      </a:cubicBezTo>
                      <a:cubicBezTo>
                        <a:pt x="813" y="594"/>
                        <a:pt x="809" y="582"/>
                        <a:pt x="763" y="582"/>
                      </a:cubicBezTo>
                      <a:cubicBezTo>
                        <a:pt x="753" y="582"/>
                        <a:pt x="744" y="581"/>
                        <a:pt x="734" y="580"/>
                      </a:cubicBezTo>
                      <a:cubicBezTo>
                        <a:pt x="734" y="605"/>
                        <a:pt x="733" y="665"/>
                        <a:pt x="733" y="665"/>
                      </a:cubicBezTo>
                      <a:cubicBezTo>
                        <a:pt x="733" y="665"/>
                        <a:pt x="693" y="739"/>
                        <a:pt x="683" y="759"/>
                      </a:cubicBezTo>
                      <a:cubicBezTo>
                        <a:pt x="673" y="778"/>
                        <a:pt x="718" y="833"/>
                        <a:pt x="732" y="845"/>
                      </a:cubicBezTo>
                      <a:cubicBezTo>
                        <a:pt x="746" y="856"/>
                        <a:pt x="779" y="888"/>
                        <a:pt x="786" y="899"/>
                      </a:cubicBezTo>
                      <a:cubicBezTo>
                        <a:pt x="793" y="911"/>
                        <a:pt x="802" y="959"/>
                        <a:pt x="801" y="967"/>
                      </a:cubicBezTo>
                      <a:cubicBezTo>
                        <a:pt x="799" y="975"/>
                        <a:pt x="794" y="977"/>
                        <a:pt x="774" y="993"/>
                      </a:cubicBezTo>
                      <a:cubicBezTo>
                        <a:pt x="754" y="1009"/>
                        <a:pt x="750" y="1034"/>
                        <a:pt x="747" y="1037"/>
                      </a:cubicBezTo>
                      <a:cubicBezTo>
                        <a:pt x="745" y="1039"/>
                        <a:pt x="729" y="1071"/>
                        <a:pt x="721" y="1085"/>
                      </a:cubicBezTo>
                      <a:cubicBezTo>
                        <a:pt x="714" y="1100"/>
                        <a:pt x="617" y="1151"/>
                        <a:pt x="607" y="1168"/>
                      </a:cubicBezTo>
                      <a:cubicBezTo>
                        <a:pt x="597" y="1185"/>
                        <a:pt x="633" y="1252"/>
                        <a:pt x="637" y="1267"/>
                      </a:cubicBezTo>
                      <a:cubicBezTo>
                        <a:pt x="641" y="1283"/>
                        <a:pt x="633" y="1411"/>
                        <a:pt x="633" y="1424"/>
                      </a:cubicBezTo>
                      <a:cubicBezTo>
                        <a:pt x="634" y="1437"/>
                        <a:pt x="621" y="1468"/>
                        <a:pt x="600" y="1498"/>
                      </a:cubicBezTo>
                      <a:cubicBezTo>
                        <a:pt x="579" y="1528"/>
                        <a:pt x="594" y="1712"/>
                        <a:pt x="594" y="1712"/>
                      </a:cubicBezTo>
                      <a:cubicBezTo>
                        <a:pt x="594" y="1712"/>
                        <a:pt x="593" y="1737"/>
                        <a:pt x="591" y="1747"/>
                      </a:cubicBezTo>
                      <a:cubicBezTo>
                        <a:pt x="588" y="1756"/>
                        <a:pt x="575" y="1764"/>
                        <a:pt x="561" y="1777"/>
                      </a:cubicBezTo>
                      <a:cubicBezTo>
                        <a:pt x="547" y="1789"/>
                        <a:pt x="556" y="1801"/>
                        <a:pt x="545" y="1820"/>
                      </a:cubicBezTo>
                      <a:cubicBezTo>
                        <a:pt x="533" y="1839"/>
                        <a:pt x="572" y="1867"/>
                        <a:pt x="572" y="1867"/>
                      </a:cubicBezTo>
                      <a:cubicBezTo>
                        <a:pt x="572" y="1867"/>
                        <a:pt x="590" y="1870"/>
                        <a:pt x="599" y="1871"/>
                      </a:cubicBezTo>
                      <a:cubicBezTo>
                        <a:pt x="609" y="1873"/>
                        <a:pt x="619" y="1891"/>
                        <a:pt x="623" y="1908"/>
                      </a:cubicBezTo>
                      <a:cubicBezTo>
                        <a:pt x="628" y="1925"/>
                        <a:pt x="641" y="1931"/>
                        <a:pt x="646" y="1934"/>
                      </a:cubicBezTo>
                      <a:cubicBezTo>
                        <a:pt x="651" y="1937"/>
                        <a:pt x="651" y="1963"/>
                        <a:pt x="651" y="1963"/>
                      </a:cubicBezTo>
                      <a:cubicBezTo>
                        <a:pt x="651" y="1963"/>
                        <a:pt x="663" y="1979"/>
                        <a:pt x="663" y="1987"/>
                      </a:cubicBezTo>
                      <a:cubicBezTo>
                        <a:pt x="663" y="1996"/>
                        <a:pt x="647" y="2016"/>
                        <a:pt x="640" y="2021"/>
                      </a:cubicBezTo>
                      <a:cubicBezTo>
                        <a:pt x="633" y="2027"/>
                        <a:pt x="616" y="2041"/>
                        <a:pt x="606" y="2053"/>
                      </a:cubicBezTo>
                      <a:cubicBezTo>
                        <a:pt x="596" y="2066"/>
                        <a:pt x="589" y="2084"/>
                        <a:pt x="589" y="2092"/>
                      </a:cubicBezTo>
                      <a:cubicBezTo>
                        <a:pt x="589" y="2100"/>
                        <a:pt x="574" y="2114"/>
                        <a:pt x="564" y="2131"/>
                      </a:cubicBezTo>
                      <a:cubicBezTo>
                        <a:pt x="554" y="2149"/>
                        <a:pt x="556" y="2163"/>
                        <a:pt x="540" y="2173"/>
                      </a:cubicBezTo>
                      <a:cubicBezTo>
                        <a:pt x="524" y="2184"/>
                        <a:pt x="511" y="2188"/>
                        <a:pt x="501" y="2192"/>
                      </a:cubicBezTo>
                      <a:cubicBezTo>
                        <a:pt x="491" y="2196"/>
                        <a:pt x="481" y="2210"/>
                        <a:pt x="466" y="2229"/>
                      </a:cubicBezTo>
                      <a:cubicBezTo>
                        <a:pt x="451" y="2249"/>
                        <a:pt x="471" y="2313"/>
                        <a:pt x="473" y="2315"/>
                      </a:cubicBezTo>
                      <a:cubicBezTo>
                        <a:pt x="474" y="2317"/>
                        <a:pt x="493" y="2333"/>
                        <a:pt x="495" y="2344"/>
                      </a:cubicBezTo>
                      <a:cubicBezTo>
                        <a:pt x="496" y="2355"/>
                        <a:pt x="493" y="2384"/>
                        <a:pt x="487" y="2394"/>
                      </a:cubicBezTo>
                      <a:cubicBezTo>
                        <a:pt x="481" y="2404"/>
                        <a:pt x="459" y="2416"/>
                        <a:pt x="459" y="2418"/>
                      </a:cubicBezTo>
                      <a:cubicBezTo>
                        <a:pt x="459" y="2420"/>
                        <a:pt x="448" y="2437"/>
                        <a:pt x="414" y="2461"/>
                      </a:cubicBezTo>
                      <a:cubicBezTo>
                        <a:pt x="380" y="2485"/>
                        <a:pt x="349" y="2485"/>
                        <a:pt x="339" y="2494"/>
                      </a:cubicBezTo>
                      <a:cubicBezTo>
                        <a:pt x="328" y="2503"/>
                        <a:pt x="296" y="2511"/>
                        <a:pt x="276" y="2511"/>
                      </a:cubicBezTo>
                      <a:cubicBezTo>
                        <a:pt x="256" y="2512"/>
                        <a:pt x="237" y="2524"/>
                        <a:pt x="228" y="2528"/>
                      </a:cubicBezTo>
                      <a:cubicBezTo>
                        <a:pt x="219" y="2532"/>
                        <a:pt x="189" y="2541"/>
                        <a:pt x="167" y="2550"/>
                      </a:cubicBezTo>
                      <a:cubicBezTo>
                        <a:pt x="145" y="2559"/>
                        <a:pt x="149" y="2594"/>
                        <a:pt x="149" y="2594"/>
                      </a:cubicBezTo>
                      <a:cubicBezTo>
                        <a:pt x="149" y="2594"/>
                        <a:pt x="140" y="2596"/>
                        <a:pt x="137" y="2596"/>
                      </a:cubicBezTo>
                      <a:cubicBezTo>
                        <a:pt x="135" y="2596"/>
                        <a:pt x="128" y="2634"/>
                        <a:pt x="119" y="2653"/>
                      </a:cubicBezTo>
                      <a:cubicBezTo>
                        <a:pt x="111" y="2673"/>
                        <a:pt x="133" y="2743"/>
                        <a:pt x="133" y="2755"/>
                      </a:cubicBezTo>
                      <a:cubicBezTo>
                        <a:pt x="133" y="2766"/>
                        <a:pt x="121" y="2783"/>
                        <a:pt x="111" y="2793"/>
                      </a:cubicBezTo>
                      <a:cubicBezTo>
                        <a:pt x="101" y="2802"/>
                        <a:pt x="89" y="2821"/>
                        <a:pt x="70" y="2827"/>
                      </a:cubicBezTo>
                      <a:cubicBezTo>
                        <a:pt x="61" y="2830"/>
                        <a:pt x="34" y="2841"/>
                        <a:pt x="9" y="2852"/>
                      </a:cubicBezTo>
                      <a:cubicBezTo>
                        <a:pt x="12" y="2858"/>
                        <a:pt x="15" y="2866"/>
                        <a:pt x="14" y="2874"/>
                      </a:cubicBezTo>
                      <a:cubicBezTo>
                        <a:pt x="13" y="2889"/>
                        <a:pt x="51" y="2884"/>
                        <a:pt x="68" y="2887"/>
                      </a:cubicBezTo>
                      <a:cubicBezTo>
                        <a:pt x="85" y="2890"/>
                        <a:pt x="127" y="2915"/>
                        <a:pt x="137" y="2918"/>
                      </a:cubicBezTo>
                      <a:cubicBezTo>
                        <a:pt x="147" y="2922"/>
                        <a:pt x="153" y="2944"/>
                        <a:pt x="155" y="2954"/>
                      </a:cubicBezTo>
                      <a:cubicBezTo>
                        <a:pt x="158" y="2963"/>
                        <a:pt x="133" y="2981"/>
                        <a:pt x="119" y="2991"/>
                      </a:cubicBezTo>
                      <a:cubicBezTo>
                        <a:pt x="106" y="3000"/>
                        <a:pt x="94" y="2991"/>
                        <a:pt x="82" y="2995"/>
                      </a:cubicBezTo>
                      <a:cubicBezTo>
                        <a:pt x="70" y="2999"/>
                        <a:pt x="50" y="3015"/>
                        <a:pt x="44" y="3019"/>
                      </a:cubicBezTo>
                      <a:cubicBezTo>
                        <a:pt x="37" y="3022"/>
                        <a:pt x="27" y="3036"/>
                        <a:pt x="18" y="3046"/>
                      </a:cubicBezTo>
                      <a:cubicBezTo>
                        <a:pt x="10" y="3055"/>
                        <a:pt x="2" y="3071"/>
                        <a:pt x="2" y="3071"/>
                      </a:cubicBezTo>
                      <a:cubicBezTo>
                        <a:pt x="0" y="3103"/>
                        <a:pt x="0" y="3103"/>
                        <a:pt x="0" y="3103"/>
                      </a:cubicBezTo>
                      <a:cubicBezTo>
                        <a:pt x="0" y="3103"/>
                        <a:pt x="8" y="3108"/>
                        <a:pt x="10" y="3108"/>
                      </a:cubicBezTo>
                      <a:cubicBezTo>
                        <a:pt x="13" y="3108"/>
                        <a:pt x="48" y="3136"/>
                        <a:pt x="50" y="3143"/>
                      </a:cubicBezTo>
                      <a:cubicBezTo>
                        <a:pt x="53" y="3150"/>
                        <a:pt x="64" y="3164"/>
                        <a:pt x="64" y="3176"/>
                      </a:cubicBezTo>
                      <a:cubicBezTo>
                        <a:pt x="64" y="3189"/>
                        <a:pt x="90" y="3196"/>
                        <a:pt x="95" y="3201"/>
                      </a:cubicBezTo>
                      <a:cubicBezTo>
                        <a:pt x="100" y="3207"/>
                        <a:pt x="120" y="3211"/>
                        <a:pt x="125" y="3211"/>
                      </a:cubicBezTo>
                      <a:cubicBezTo>
                        <a:pt x="130" y="3211"/>
                        <a:pt x="144" y="3232"/>
                        <a:pt x="146" y="3232"/>
                      </a:cubicBezTo>
                      <a:cubicBezTo>
                        <a:pt x="149" y="3232"/>
                        <a:pt x="181" y="3242"/>
                        <a:pt x="191" y="3247"/>
                      </a:cubicBezTo>
                      <a:cubicBezTo>
                        <a:pt x="201" y="3251"/>
                        <a:pt x="197" y="3269"/>
                        <a:pt x="221" y="3292"/>
                      </a:cubicBezTo>
                      <a:cubicBezTo>
                        <a:pt x="240" y="3310"/>
                        <a:pt x="241" y="3334"/>
                        <a:pt x="241" y="3342"/>
                      </a:cubicBezTo>
                      <a:cubicBezTo>
                        <a:pt x="273" y="3357"/>
                        <a:pt x="322" y="3379"/>
                        <a:pt x="333" y="3377"/>
                      </a:cubicBezTo>
                      <a:cubicBezTo>
                        <a:pt x="350" y="3375"/>
                        <a:pt x="353" y="3362"/>
                        <a:pt x="365" y="3364"/>
                      </a:cubicBezTo>
                      <a:cubicBezTo>
                        <a:pt x="376" y="3366"/>
                        <a:pt x="405" y="3372"/>
                        <a:pt x="405" y="3372"/>
                      </a:cubicBezTo>
                      <a:cubicBezTo>
                        <a:pt x="405" y="3372"/>
                        <a:pt x="402" y="3361"/>
                        <a:pt x="423" y="3360"/>
                      </a:cubicBezTo>
                      <a:cubicBezTo>
                        <a:pt x="443" y="3359"/>
                        <a:pt x="463" y="3347"/>
                        <a:pt x="465" y="3337"/>
                      </a:cubicBezTo>
                      <a:cubicBezTo>
                        <a:pt x="466" y="3328"/>
                        <a:pt x="470" y="3295"/>
                        <a:pt x="478" y="3269"/>
                      </a:cubicBezTo>
                      <a:cubicBezTo>
                        <a:pt x="486" y="3243"/>
                        <a:pt x="511" y="3191"/>
                        <a:pt x="516" y="3189"/>
                      </a:cubicBezTo>
                      <a:cubicBezTo>
                        <a:pt x="521" y="3188"/>
                        <a:pt x="525" y="3189"/>
                        <a:pt x="533" y="3183"/>
                      </a:cubicBezTo>
                      <a:cubicBezTo>
                        <a:pt x="541" y="3177"/>
                        <a:pt x="567" y="3155"/>
                        <a:pt x="575" y="3145"/>
                      </a:cubicBezTo>
                      <a:cubicBezTo>
                        <a:pt x="583" y="3135"/>
                        <a:pt x="614" y="3129"/>
                        <a:pt x="631" y="3117"/>
                      </a:cubicBezTo>
                      <a:cubicBezTo>
                        <a:pt x="649" y="3105"/>
                        <a:pt x="648" y="3087"/>
                        <a:pt x="659" y="3087"/>
                      </a:cubicBezTo>
                      <a:cubicBezTo>
                        <a:pt x="671" y="3087"/>
                        <a:pt x="691" y="3075"/>
                        <a:pt x="693" y="3075"/>
                      </a:cubicBezTo>
                      <a:cubicBezTo>
                        <a:pt x="695" y="3075"/>
                        <a:pt x="862" y="3079"/>
                        <a:pt x="862" y="3079"/>
                      </a:cubicBezTo>
                      <a:cubicBezTo>
                        <a:pt x="862" y="3079"/>
                        <a:pt x="928" y="3015"/>
                        <a:pt x="941" y="3003"/>
                      </a:cubicBezTo>
                      <a:cubicBezTo>
                        <a:pt x="955" y="2991"/>
                        <a:pt x="958" y="2996"/>
                        <a:pt x="961" y="2994"/>
                      </a:cubicBezTo>
                      <a:cubicBezTo>
                        <a:pt x="963" y="2992"/>
                        <a:pt x="981" y="2970"/>
                        <a:pt x="981" y="2970"/>
                      </a:cubicBezTo>
                      <a:cubicBezTo>
                        <a:pt x="981" y="2970"/>
                        <a:pt x="1002" y="2963"/>
                        <a:pt x="1007" y="2959"/>
                      </a:cubicBezTo>
                      <a:cubicBezTo>
                        <a:pt x="1013" y="2955"/>
                        <a:pt x="1001" y="2942"/>
                        <a:pt x="1046" y="2905"/>
                      </a:cubicBezTo>
                      <a:cubicBezTo>
                        <a:pt x="1091" y="2869"/>
                        <a:pt x="1107" y="2867"/>
                        <a:pt x="1112" y="2861"/>
                      </a:cubicBezTo>
                      <a:cubicBezTo>
                        <a:pt x="1117" y="2854"/>
                        <a:pt x="1132" y="2842"/>
                        <a:pt x="1147" y="2841"/>
                      </a:cubicBezTo>
                      <a:cubicBezTo>
                        <a:pt x="1161" y="2841"/>
                        <a:pt x="1189" y="2857"/>
                        <a:pt x="1206" y="2859"/>
                      </a:cubicBezTo>
                      <a:cubicBezTo>
                        <a:pt x="1223" y="2860"/>
                        <a:pt x="1231" y="2884"/>
                        <a:pt x="1245" y="2887"/>
                      </a:cubicBezTo>
                      <a:cubicBezTo>
                        <a:pt x="1259" y="2891"/>
                        <a:pt x="1253" y="2901"/>
                        <a:pt x="1277" y="2903"/>
                      </a:cubicBezTo>
                      <a:cubicBezTo>
                        <a:pt x="1300" y="2904"/>
                        <a:pt x="1315" y="2938"/>
                        <a:pt x="1331" y="2939"/>
                      </a:cubicBezTo>
                      <a:cubicBezTo>
                        <a:pt x="1347" y="2939"/>
                        <a:pt x="1433" y="2964"/>
                        <a:pt x="1453" y="2955"/>
                      </a:cubicBezTo>
                      <a:cubicBezTo>
                        <a:pt x="1473" y="2947"/>
                        <a:pt x="1488" y="2939"/>
                        <a:pt x="1491" y="2937"/>
                      </a:cubicBezTo>
                      <a:cubicBezTo>
                        <a:pt x="1495" y="2936"/>
                        <a:pt x="1511" y="2914"/>
                        <a:pt x="1511" y="2901"/>
                      </a:cubicBezTo>
                      <a:cubicBezTo>
                        <a:pt x="1511" y="2887"/>
                        <a:pt x="1508" y="2871"/>
                        <a:pt x="1516" y="2861"/>
                      </a:cubicBezTo>
                      <a:cubicBezTo>
                        <a:pt x="1524" y="2851"/>
                        <a:pt x="1504" y="2810"/>
                        <a:pt x="1520" y="2798"/>
                      </a:cubicBezTo>
                      <a:cubicBezTo>
                        <a:pt x="1536" y="2786"/>
                        <a:pt x="1533" y="2779"/>
                        <a:pt x="1537" y="2774"/>
                      </a:cubicBezTo>
                      <a:cubicBezTo>
                        <a:pt x="1541" y="2769"/>
                        <a:pt x="1543" y="2744"/>
                        <a:pt x="1546" y="2731"/>
                      </a:cubicBezTo>
                      <a:cubicBezTo>
                        <a:pt x="1549" y="2719"/>
                        <a:pt x="1575" y="2680"/>
                        <a:pt x="1580" y="2664"/>
                      </a:cubicBezTo>
                      <a:cubicBezTo>
                        <a:pt x="1585" y="2648"/>
                        <a:pt x="1591" y="2625"/>
                        <a:pt x="1593" y="2621"/>
                      </a:cubicBezTo>
                      <a:cubicBezTo>
                        <a:pt x="1595" y="2616"/>
                        <a:pt x="1592" y="2583"/>
                        <a:pt x="1612" y="2575"/>
                      </a:cubicBezTo>
                      <a:cubicBezTo>
                        <a:pt x="1632" y="2566"/>
                        <a:pt x="1749" y="2568"/>
                        <a:pt x="1767" y="2559"/>
                      </a:cubicBezTo>
                      <a:cubicBezTo>
                        <a:pt x="1785" y="2549"/>
                        <a:pt x="1793" y="2539"/>
                        <a:pt x="1802" y="2539"/>
                      </a:cubicBezTo>
                      <a:cubicBezTo>
                        <a:pt x="1808" y="2538"/>
                        <a:pt x="1861" y="2537"/>
                        <a:pt x="1893" y="2537"/>
                      </a:cubicBezTo>
                      <a:cubicBezTo>
                        <a:pt x="1894" y="2485"/>
                        <a:pt x="1894" y="2485"/>
                        <a:pt x="1894" y="2485"/>
                      </a:cubicBezTo>
                      <a:cubicBezTo>
                        <a:pt x="1894" y="2485"/>
                        <a:pt x="1910" y="2465"/>
                        <a:pt x="1917" y="2463"/>
                      </a:cubicBezTo>
                      <a:cubicBezTo>
                        <a:pt x="1924" y="2461"/>
                        <a:pt x="1945" y="2462"/>
                        <a:pt x="1945" y="2462"/>
                      </a:cubicBezTo>
                      <a:cubicBezTo>
                        <a:pt x="1965" y="2442"/>
                        <a:pt x="1965" y="2442"/>
                        <a:pt x="1965" y="2442"/>
                      </a:cubicBezTo>
                      <a:cubicBezTo>
                        <a:pt x="1990" y="2441"/>
                        <a:pt x="1990" y="2441"/>
                        <a:pt x="1990" y="2441"/>
                      </a:cubicBezTo>
                      <a:cubicBezTo>
                        <a:pt x="1990" y="2441"/>
                        <a:pt x="1999" y="2413"/>
                        <a:pt x="2004" y="2397"/>
                      </a:cubicBezTo>
                      <a:cubicBezTo>
                        <a:pt x="2009" y="2381"/>
                        <a:pt x="2072" y="2330"/>
                        <a:pt x="2072" y="2330"/>
                      </a:cubicBezTo>
                      <a:cubicBezTo>
                        <a:pt x="2064" y="2313"/>
                        <a:pt x="2064" y="2313"/>
                        <a:pt x="2064" y="2313"/>
                      </a:cubicBezTo>
                      <a:cubicBezTo>
                        <a:pt x="2064" y="2313"/>
                        <a:pt x="2086" y="2308"/>
                        <a:pt x="2095" y="2304"/>
                      </a:cubicBezTo>
                      <a:cubicBezTo>
                        <a:pt x="2104" y="2300"/>
                        <a:pt x="2106" y="2241"/>
                        <a:pt x="2106" y="2241"/>
                      </a:cubicBezTo>
                      <a:cubicBezTo>
                        <a:pt x="2106" y="2241"/>
                        <a:pt x="2111" y="2233"/>
                        <a:pt x="2128" y="2227"/>
                      </a:cubicBezTo>
                      <a:cubicBezTo>
                        <a:pt x="2145" y="2221"/>
                        <a:pt x="2154" y="2167"/>
                        <a:pt x="2154" y="2167"/>
                      </a:cubicBezTo>
                      <a:cubicBezTo>
                        <a:pt x="2154" y="2167"/>
                        <a:pt x="2168" y="2167"/>
                        <a:pt x="2179" y="2167"/>
                      </a:cubicBezTo>
                      <a:cubicBezTo>
                        <a:pt x="2190" y="2167"/>
                        <a:pt x="2254" y="2210"/>
                        <a:pt x="2281" y="2215"/>
                      </a:cubicBezTo>
                      <a:cubicBezTo>
                        <a:pt x="2308" y="2220"/>
                        <a:pt x="2329" y="2209"/>
                        <a:pt x="2337" y="2204"/>
                      </a:cubicBezTo>
                      <a:cubicBezTo>
                        <a:pt x="2345" y="2199"/>
                        <a:pt x="2372" y="2164"/>
                        <a:pt x="2389" y="2148"/>
                      </a:cubicBezTo>
                      <a:cubicBezTo>
                        <a:pt x="2406" y="2132"/>
                        <a:pt x="2405" y="2145"/>
                        <a:pt x="2432" y="2129"/>
                      </a:cubicBezTo>
                      <a:cubicBezTo>
                        <a:pt x="2459" y="2113"/>
                        <a:pt x="2495" y="2090"/>
                        <a:pt x="2500" y="2089"/>
                      </a:cubicBezTo>
                      <a:cubicBezTo>
                        <a:pt x="2505" y="2088"/>
                        <a:pt x="2544" y="2081"/>
                        <a:pt x="2564" y="2058"/>
                      </a:cubicBezTo>
                      <a:cubicBezTo>
                        <a:pt x="2584" y="2035"/>
                        <a:pt x="2575" y="2031"/>
                        <a:pt x="2578" y="2029"/>
                      </a:cubicBezTo>
                      <a:cubicBezTo>
                        <a:pt x="2581" y="2027"/>
                        <a:pt x="2607" y="2029"/>
                        <a:pt x="2627" y="2023"/>
                      </a:cubicBezTo>
                      <a:cubicBezTo>
                        <a:pt x="2647" y="2017"/>
                        <a:pt x="2735" y="1979"/>
                        <a:pt x="2735" y="1979"/>
                      </a:cubicBezTo>
                      <a:cubicBezTo>
                        <a:pt x="2735" y="1979"/>
                        <a:pt x="2745" y="1909"/>
                        <a:pt x="2744" y="1887"/>
                      </a:cubicBezTo>
                      <a:cubicBezTo>
                        <a:pt x="2743" y="1865"/>
                        <a:pt x="2719" y="1849"/>
                        <a:pt x="2715" y="1838"/>
                      </a:cubicBezTo>
                      <a:cubicBezTo>
                        <a:pt x="2711" y="1827"/>
                        <a:pt x="2700" y="1835"/>
                        <a:pt x="2682" y="1834"/>
                      </a:cubicBezTo>
                      <a:cubicBezTo>
                        <a:pt x="2664" y="1833"/>
                        <a:pt x="2662" y="1810"/>
                        <a:pt x="2662" y="1805"/>
                      </a:cubicBezTo>
                      <a:cubicBezTo>
                        <a:pt x="2662" y="1800"/>
                        <a:pt x="2711" y="1754"/>
                        <a:pt x="2711" y="1754"/>
                      </a:cubicBezTo>
                      <a:cubicBezTo>
                        <a:pt x="2708" y="1678"/>
                        <a:pt x="2708" y="1678"/>
                        <a:pt x="2708" y="1678"/>
                      </a:cubicBezTo>
                      <a:cubicBezTo>
                        <a:pt x="2752" y="1582"/>
                        <a:pt x="2752" y="1582"/>
                        <a:pt x="2752" y="1582"/>
                      </a:cubicBezTo>
                      <a:cubicBezTo>
                        <a:pt x="2752" y="1582"/>
                        <a:pt x="2729" y="1544"/>
                        <a:pt x="2727" y="1527"/>
                      </a:cubicBezTo>
                      <a:cubicBezTo>
                        <a:pt x="2725" y="1510"/>
                        <a:pt x="2748" y="1487"/>
                        <a:pt x="2748" y="1487"/>
                      </a:cubicBezTo>
                      <a:cubicBezTo>
                        <a:pt x="2738" y="1473"/>
                        <a:pt x="2738" y="1473"/>
                        <a:pt x="2738" y="1473"/>
                      </a:cubicBezTo>
                      <a:cubicBezTo>
                        <a:pt x="2750" y="1457"/>
                        <a:pt x="2750" y="1457"/>
                        <a:pt x="2750" y="1457"/>
                      </a:cubicBezTo>
                      <a:lnTo>
                        <a:pt x="2758" y="1424"/>
                      </a:lnTo>
                      <a:close/>
                    </a:path>
                  </a:pathLst>
                </a:custGeom>
                <a:solidFill>
                  <a:srgbClr val="FF0000"/>
                </a:solidFill>
                <a:ln w="3175" cap="flat" cmpd="sng">
                  <a:solidFill>
                    <a:schemeClr val="bg1"/>
                  </a:solidFill>
                  <a:prstDash val="solid"/>
                  <a:miter lim="800000"/>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45">
                  <a:extLst>
                    <a:ext uri="{FF2B5EF4-FFF2-40B4-BE49-F238E27FC236}">
                      <a16:creationId xmlns:a16="http://schemas.microsoft.com/office/drawing/2014/main" id="{CBAB4463-7CC4-3E4B-3DA0-1EE4F5F9FBE0}"/>
                    </a:ext>
                  </a:extLst>
                </p:cNvPr>
                <p:cNvSpPr>
                  <a:spLocks noChangeAspect="1"/>
                </p:cNvSpPr>
                <p:nvPr/>
              </p:nvSpPr>
              <p:spPr bwMode="auto">
                <a:xfrm>
                  <a:off x="6641449" y="3804021"/>
                  <a:ext cx="954752" cy="1070138"/>
                </a:xfrm>
                <a:custGeom>
                  <a:avLst/>
                  <a:gdLst>
                    <a:gd name="T0" fmla="*/ 2341 w 2441"/>
                    <a:gd name="T1" fmla="*/ 1596 h 2742"/>
                    <a:gd name="T2" fmla="*/ 2184 w 2441"/>
                    <a:gd name="T3" fmla="*/ 1473 h 2742"/>
                    <a:gd name="T4" fmla="*/ 2110 w 2441"/>
                    <a:gd name="T5" fmla="*/ 1585 h 2742"/>
                    <a:gd name="T6" fmla="*/ 2035 w 2441"/>
                    <a:gd name="T7" fmla="*/ 1439 h 2742"/>
                    <a:gd name="T8" fmla="*/ 2003 w 2441"/>
                    <a:gd name="T9" fmla="*/ 1339 h 2742"/>
                    <a:gd name="T10" fmla="*/ 2098 w 2441"/>
                    <a:gd name="T11" fmla="*/ 1205 h 2742"/>
                    <a:gd name="T12" fmla="*/ 2215 w 2441"/>
                    <a:gd name="T13" fmla="*/ 1059 h 2742"/>
                    <a:gd name="T14" fmla="*/ 2328 w 2441"/>
                    <a:gd name="T15" fmla="*/ 971 h 2742"/>
                    <a:gd name="T16" fmla="*/ 2364 w 2441"/>
                    <a:gd name="T17" fmla="*/ 763 h 2742"/>
                    <a:gd name="T18" fmla="*/ 2429 w 2441"/>
                    <a:gd name="T19" fmla="*/ 671 h 2742"/>
                    <a:gd name="T20" fmla="*/ 2368 w 2441"/>
                    <a:gd name="T21" fmla="*/ 559 h 2742"/>
                    <a:gd name="T22" fmla="*/ 2273 w 2441"/>
                    <a:gd name="T23" fmla="*/ 317 h 2742"/>
                    <a:gd name="T24" fmla="*/ 2202 w 2441"/>
                    <a:gd name="T25" fmla="*/ 215 h 2742"/>
                    <a:gd name="T26" fmla="*/ 2086 w 2441"/>
                    <a:gd name="T27" fmla="*/ 113 h 2742"/>
                    <a:gd name="T28" fmla="*/ 2034 w 2441"/>
                    <a:gd name="T29" fmla="*/ 18 h 2742"/>
                    <a:gd name="T30" fmla="*/ 1924 w 2441"/>
                    <a:gd name="T31" fmla="*/ 52 h 2742"/>
                    <a:gd name="T32" fmla="*/ 1635 w 2441"/>
                    <a:gd name="T33" fmla="*/ 5 h 2742"/>
                    <a:gd name="T34" fmla="*/ 1484 w 2441"/>
                    <a:gd name="T35" fmla="*/ 47 h 2742"/>
                    <a:gd name="T36" fmla="*/ 1304 w 2441"/>
                    <a:gd name="T37" fmla="*/ 105 h 2742"/>
                    <a:gd name="T38" fmla="*/ 1267 w 2441"/>
                    <a:gd name="T39" fmla="*/ 308 h 2742"/>
                    <a:gd name="T40" fmla="*/ 1358 w 2441"/>
                    <a:gd name="T41" fmla="*/ 522 h 2742"/>
                    <a:gd name="T42" fmla="*/ 1304 w 2441"/>
                    <a:gd name="T43" fmla="*/ 615 h 2742"/>
                    <a:gd name="T44" fmla="*/ 1096 w 2441"/>
                    <a:gd name="T45" fmla="*/ 695 h 2742"/>
                    <a:gd name="T46" fmla="*/ 996 w 2441"/>
                    <a:gd name="T47" fmla="*/ 783 h 2742"/>
                    <a:gd name="T48" fmla="*/ 894 w 2441"/>
                    <a:gd name="T49" fmla="*/ 871 h 2742"/>
                    <a:gd name="T50" fmla="*/ 761 w 2441"/>
                    <a:gd name="T51" fmla="*/ 974 h 2742"/>
                    <a:gd name="T52" fmla="*/ 655 w 2441"/>
                    <a:gd name="T53" fmla="*/ 1048 h 2742"/>
                    <a:gd name="T54" fmla="*/ 473 w 2441"/>
                    <a:gd name="T55" fmla="*/ 1103 h 2742"/>
                    <a:gd name="T56" fmla="*/ 401 w 2441"/>
                    <a:gd name="T57" fmla="*/ 1165 h 2742"/>
                    <a:gd name="T58" fmla="*/ 183 w 2441"/>
                    <a:gd name="T59" fmla="*/ 1167 h 2742"/>
                    <a:gd name="T60" fmla="*/ 217 w 2441"/>
                    <a:gd name="T61" fmla="*/ 1277 h 2742"/>
                    <a:gd name="T62" fmla="*/ 219 w 2441"/>
                    <a:gd name="T63" fmla="*/ 1409 h 2742"/>
                    <a:gd name="T64" fmla="*/ 87 w 2441"/>
                    <a:gd name="T65" fmla="*/ 1507 h 2742"/>
                    <a:gd name="T66" fmla="*/ 2 w 2441"/>
                    <a:gd name="T67" fmla="*/ 1647 h 2742"/>
                    <a:gd name="T68" fmla="*/ 194 w 2441"/>
                    <a:gd name="T69" fmla="*/ 1567 h 2742"/>
                    <a:gd name="T70" fmla="*/ 424 w 2441"/>
                    <a:gd name="T71" fmla="*/ 1575 h 2742"/>
                    <a:gd name="T72" fmla="*/ 552 w 2441"/>
                    <a:gd name="T73" fmla="*/ 1685 h 2742"/>
                    <a:gd name="T74" fmla="*/ 640 w 2441"/>
                    <a:gd name="T75" fmla="*/ 1778 h 2742"/>
                    <a:gd name="T76" fmla="*/ 660 w 2441"/>
                    <a:gd name="T77" fmla="*/ 2175 h 2742"/>
                    <a:gd name="T78" fmla="*/ 520 w 2441"/>
                    <a:gd name="T79" fmla="*/ 2347 h 2742"/>
                    <a:gd name="T80" fmla="*/ 482 w 2441"/>
                    <a:gd name="T81" fmla="*/ 2648 h 2742"/>
                    <a:gd name="T82" fmla="*/ 528 w 2441"/>
                    <a:gd name="T83" fmla="*/ 2612 h 2742"/>
                    <a:gd name="T84" fmla="*/ 628 w 2441"/>
                    <a:gd name="T85" fmla="*/ 2503 h 2742"/>
                    <a:gd name="T86" fmla="*/ 812 w 2441"/>
                    <a:gd name="T87" fmla="*/ 2314 h 2742"/>
                    <a:gd name="T88" fmla="*/ 903 w 2441"/>
                    <a:gd name="T89" fmla="*/ 2279 h 2742"/>
                    <a:gd name="T90" fmla="*/ 917 w 2441"/>
                    <a:gd name="T91" fmla="*/ 2392 h 2742"/>
                    <a:gd name="T92" fmla="*/ 1220 w 2441"/>
                    <a:gd name="T93" fmla="*/ 2367 h 2742"/>
                    <a:gd name="T94" fmla="*/ 1279 w 2441"/>
                    <a:gd name="T95" fmla="*/ 2223 h 2742"/>
                    <a:gd name="T96" fmla="*/ 1381 w 2441"/>
                    <a:gd name="T97" fmla="*/ 2304 h 2742"/>
                    <a:gd name="T98" fmla="*/ 1490 w 2441"/>
                    <a:gd name="T99" fmla="*/ 2356 h 2742"/>
                    <a:gd name="T100" fmla="*/ 1634 w 2441"/>
                    <a:gd name="T101" fmla="*/ 2579 h 2742"/>
                    <a:gd name="T102" fmla="*/ 1714 w 2441"/>
                    <a:gd name="T103" fmla="*/ 2703 h 2742"/>
                    <a:gd name="T104" fmla="*/ 1878 w 2441"/>
                    <a:gd name="T105" fmla="*/ 2711 h 2742"/>
                    <a:gd name="T106" fmla="*/ 2015 w 2441"/>
                    <a:gd name="T107" fmla="*/ 2722 h 2742"/>
                    <a:gd name="T108" fmla="*/ 2128 w 2441"/>
                    <a:gd name="T109" fmla="*/ 2610 h 2742"/>
                    <a:gd name="T110" fmla="*/ 2140 w 2441"/>
                    <a:gd name="T111" fmla="*/ 2501 h 2742"/>
                    <a:gd name="T112" fmla="*/ 2183 w 2441"/>
                    <a:gd name="T113" fmla="*/ 2380 h 2742"/>
                    <a:gd name="T114" fmla="*/ 2260 w 2441"/>
                    <a:gd name="T115" fmla="*/ 2272 h 2742"/>
                    <a:gd name="T116" fmla="*/ 2347 w 2441"/>
                    <a:gd name="T117" fmla="*/ 2034 h 2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41" h="2742">
                      <a:moveTo>
                        <a:pt x="2402" y="1863"/>
                      </a:moveTo>
                      <a:cubicBezTo>
                        <a:pt x="2399" y="1849"/>
                        <a:pt x="2402" y="1823"/>
                        <a:pt x="2391" y="1806"/>
                      </a:cubicBezTo>
                      <a:cubicBezTo>
                        <a:pt x="2380" y="1789"/>
                        <a:pt x="2396" y="1670"/>
                        <a:pt x="2383" y="1651"/>
                      </a:cubicBezTo>
                      <a:cubicBezTo>
                        <a:pt x="2370" y="1631"/>
                        <a:pt x="2352" y="1600"/>
                        <a:pt x="2341" y="1596"/>
                      </a:cubicBezTo>
                      <a:cubicBezTo>
                        <a:pt x="2330" y="1592"/>
                        <a:pt x="2315" y="1588"/>
                        <a:pt x="2311" y="1580"/>
                      </a:cubicBezTo>
                      <a:cubicBezTo>
                        <a:pt x="2307" y="1572"/>
                        <a:pt x="2286" y="1558"/>
                        <a:pt x="2278" y="1537"/>
                      </a:cubicBezTo>
                      <a:cubicBezTo>
                        <a:pt x="2269" y="1515"/>
                        <a:pt x="2247" y="1479"/>
                        <a:pt x="2226" y="1475"/>
                      </a:cubicBezTo>
                      <a:cubicBezTo>
                        <a:pt x="2204" y="1471"/>
                        <a:pt x="2192" y="1467"/>
                        <a:pt x="2184" y="1473"/>
                      </a:cubicBezTo>
                      <a:cubicBezTo>
                        <a:pt x="2176" y="1480"/>
                        <a:pt x="2167" y="1500"/>
                        <a:pt x="2158" y="1512"/>
                      </a:cubicBezTo>
                      <a:cubicBezTo>
                        <a:pt x="2148" y="1524"/>
                        <a:pt x="2154" y="1540"/>
                        <a:pt x="2149" y="1545"/>
                      </a:cubicBezTo>
                      <a:cubicBezTo>
                        <a:pt x="2144" y="1549"/>
                        <a:pt x="2130" y="1569"/>
                        <a:pt x="2127" y="1572"/>
                      </a:cubicBezTo>
                      <a:cubicBezTo>
                        <a:pt x="2124" y="1575"/>
                        <a:pt x="2116" y="1592"/>
                        <a:pt x="2110" y="1585"/>
                      </a:cubicBezTo>
                      <a:cubicBezTo>
                        <a:pt x="2105" y="1579"/>
                        <a:pt x="2097" y="1575"/>
                        <a:pt x="2094" y="1565"/>
                      </a:cubicBezTo>
                      <a:cubicBezTo>
                        <a:pt x="2092" y="1555"/>
                        <a:pt x="2068" y="1551"/>
                        <a:pt x="2067" y="1535"/>
                      </a:cubicBezTo>
                      <a:cubicBezTo>
                        <a:pt x="2066" y="1518"/>
                        <a:pt x="2054" y="1504"/>
                        <a:pt x="2053" y="1487"/>
                      </a:cubicBezTo>
                      <a:cubicBezTo>
                        <a:pt x="2052" y="1471"/>
                        <a:pt x="2038" y="1439"/>
                        <a:pt x="2035" y="1439"/>
                      </a:cubicBezTo>
                      <a:cubicBezTo>
                        <a:pt x="2032" y="1438"/>
                        <a:pt x="2013" y="1419"/>
                        <a:pt x="2008" y="1409"/>
                      </a:cubicBezTo>
                      <a:cubicBezTo>
                        <a:pt x="2004" y="1400"/>
                        <a:pt x="2007" y="1388"/>
                        <a:pt x="1997" y="1385"/>
                      </a:cubicBezTo>
                      <a:cubicBezTo>
                        <a:pt x="1987" y="1383"/>
                        <a:pt x="1942" y="1389"/>
                        <a:pt x="1956" y="1373"/>
                      </a:cubicBezTo>
                      <a:cubicBezTo>
                        <a:pt x="1969" y="1357"/>
                        <a:pt x="2003" y="1351"/>
                        <a:pt x="2003" y="1339"/>
                      </a:cubicBezTo>
                      <a:cubicBezTo>
                        <a:pt x="2003" y="1327"/>
                        <a:pt x="1991" y="1327"/>
                        <a:pt x="2004" y="1320"/>
                      </a:cubicBezTo>
                      <a:cubicBezTo>
                        <a:pt x="2018" y="1313"/>
                        <a:pt x="2027" y="1291"/>
                        <a:pt x="2039" y="1281"/>
                      </a:cubicBezTo>
                      <a:cubicBezTo>
                        <a:pt x="2051" y="1271"/>
                        <a:pt x="2066" y="1267"/>
                        <a:pt x="2070" y="1261"/>
                      </a:cubicBezTo>
                      <a:cubicBezTo>
                        <a:pt x="2075" y="1256"/>
                        <a:pt x="2094" y="1215"/>
                        <a:pt x="2098" y="1205"/>
                      </a:cubicBezTo>
                      <a:cubicBezTo>
                        <a:pt x="2103" y="1195"/>
                        <a:pt x="2124" y="1177"/>
                        <a:pt x="2141" y="1145"/>
                      </a:cubicBezTo>
                      <a:cubicBezTo>
                        <a:pt x="2158" y="1113"/>
                        <a:pt x="2161" y="1095"/>
                        <a:pt x="2171" y="1092"/>
                      </a:cubicBezTo>
                      <a:cubicBezTo>
                        <a:pt x="2181" y="1089"/>
                        <a:pt x="2202" y="1061"/>
                        <a:pt x="2204" y="1063"/>
                      </a:cubicBezTo>
                      <a:cubicBezTo>
                        <a:pt x="2206" y="1065"/>
                        <a:pt x="2216" y="1065"/>
                        <a:pt x="2215" y="1059"/>
                      </a:cubicBezTo>
                      <a:cubicBezTo>
                        <a:pt x="2214" y="1053"/>
                        <a:pt x="2226" y="1044"/>
                        <a:pt x="2234" y="1041"/>
                      </a:cubicBezTo>
                      <a:cubicBezTo>
                        <a:pt x="2241" y="1037"/>
                        <a:pt x="2276" y="1030"/>
                        <a:pt x="2286" y="1017"/>
                      </a:cubicBezTo>
                      <a:cubicBezTo>
                        <a:pt x="2297" y="1003"/>
                        <a:pt x="2311" y="987"/>
                        <a:pt x="2316" y="984"/>
                      </a:cubicBezTo>
                      <a:cubicBezTo>
                        <a:pt x="2320" y="981"/>
                        <a:pt x="2330" y="985"/>
                        <a:pt x="2328" y="971"/>
                      </a:cubicBezTo>
                      <a:cubicBezTo>
                        <a:pt x="2326" y="957"/>
                        <a:pt x="2334" y="931"/>
                        <a:pt x="2334" y="931"/>
                      </a:cubicBezTo>
                      <a:cubicBezTo>
                        <a:pt x="2334" y="931"/>
                        <a:pt x="2333" y="847"/>
                        <a:pt x="2338" y="830"/>
                      </a:cubicBezTo>
                      <a:cubicBezTo>
                        <a:pt x="2342" y="813"/>
                        <a:pt x="2358" y="799"/>
                        <a:pt x="2360" y="789"/>
                      </a:cubicBezTo>
                      <a:cubicBezTo>
                        <a:pt x="2362" y="778"/>
                        <a:pt x="2362" y="769"/>
                        <a:pt x="2364" y="763"/>
                      </a:cubicBezTo>
                      <a:cubicBezTo>
                        <a:pt x="2367" y="758"/>
                        <a:pt x="2382" y="737"/>
                        <a:pt x="2386" y="717"/>
                      </a:cubicBezTo>
                      <a:cubicBezTo>
                        <a:pt x="2390" y="698"/>
                        <a:pt x="2416" y="687"/>
                        <a:pt x="2416" y="687"/>
                      </a:cubicBezTo>
                      <a:cubicBezTo>
                        <a:pt x="2416" y="687"/>
                        <a:pt x="2411" y="672"/>
                        <a:pt x="2414" y="672"/>
                      </a:cubicBezTo>
                      <a:cubicBezTo>
                        <a:pt x="2416" y="672"/>
                        <a:pt x="2422" y="684"/>
                        <a:pt x="2429" y="671"/>
                      </a:cubicBezTo>
                      <a:cubicBezTo>
                        <a:pt x="2436" y="657"/>
                        <a:pt x="2436" y="624"/>
                        <a:pt x="2435" y="612"/>
                      </a:cubicBezTo>
                      <a:cubicBezTo>
                        <a:pt x="2434" y="600"/>
                        <a:pt x="2414" y="589"/>
                        <a:pt x="2414" y="589"/>
                      </a:cubicBezTo>
                      <a:cubicBezTo>
                        <a:pt x="2414" y="589"/>
                        <a:pt x="2413" y="571"/>
                        <a:pt x="2400" y="571"/>
                      </a:cubicBezTo>
                      <a:cubicBezTo>
                        <a:pt x="2388" y="571"/>
                        <a:pt x="2374" y="564"/>
                        <a:pt x="2368" y="559"/>
                      </a:cubicBezTo>
                      <a:cubicBezTo>
                        <a:pt x="2362" y="553"/>
                        <a:pt x="2347" y="531"/>
                        <a:pt x="2341" y="522"/>
                      </a:cubicBezTo>
                      <a:cubicBezTo>
                        <a:pt x="2335" y="513"/>
                        <a:pt x="2308" y="504"/>
                        <a:pt x="2302" y="491"/>
                      </a:cubicBezTo>
                      <a:cubicBezTo>
                        <a:pt x="2297" y="477"/>
                        <a:pt x="2286" y="463"/>
                        <a:pt x="2282" y="455"/>
                      </a:cubicBezTo>
                      <a:cubicBezTo>
                        <a:pt x="2279" y="446"/>
                        <a:pt x="2284" y="336"/>
                        <a:pt x="2273" y="317"/>
                      </a:cubicBezTo>
                      <a:cubicBezTo>
                        <a:pt x="2262" y="299"/>
                        <a:pt x="2254" y="275"/>
                        <a:pt x="2254" y="271"/>
                      </a:cubicBezTo>
                      <a:cubicBezTo>
                        <a:pt x="2253" y="267"/>
                        <a:pt x="2242" y="270"/>
                        <a:pt x="2241" y="261"/>
                      </a:cubicBezTo>
                      <a:cubicBezTo>
                        <a:pt x="2240" y="253"/>
                        <a:pt x="2224" y="237"/>
                        <a:pt x="2220" y="237"/>
                      </a:cubicBezTo>
                      <a:cubicBezTo>
                        <a:pt x="2217" y="237"/>
                        <a:pt x="2204" y="217"/>
                        <a:pt x="2202" y="215"/>
                      </a:cubicBezTo>
                      <a:cubicBezTo>
                        <a:pt x="2201" y="213"/>
                        <a:pt x="2186" y="217"/>
                        <a:pt x="2180" y="207"/>
                      </a:cubicBezTo>
                      <a:cubicBezTo>
                        <a:pt x="2174" y="196"/>
                        <a:pt x="2151" y="184"/>
                        <a:pt x="2151" y="184"/>
                      </a:cubicBezTo>
                      <a:cubicBezTo>
                        <a:pt x="2151" y="184"/>
                        <a:pt x="2104" y="170"/>
                        <a:pt x="2095" y="154"/>
                      </a:cubicBezTo>
                      <a:cubicBezTo>
                        <a:pt x="2086" y="138"/>
                        <a:pt x="2092" y="120"/>
                        <a:pt x="2086" y="113"/>
                      </a:cubicBezTo>
                      <a:cubicBezTo>
                        <a:pt x="2079" y="105"/>
                        <a:pt x="2070" y="100"/>
                        <a:pt x="2068" y="90"/>
                      </a:cubicBezTo>
                      <a:cubicBezTo>
                        <a:pt x="2067" y="80"/>
                        <a:pt x="2059" y="61"/>
                        <a:pt x="2054" y="57"/>
                      </a:cubicBezTo>
                      <a:cubicBezTo>
                        <a:pt x="2048" y="52"/>
                        <a:pt x="2037" y="41"/>
                        <a:pt x="2036" y="34"/>
                      </a:cubicBezTo>
                      <a:cubicBezTo>
                        <a:pt x="2035" y="32"/>
                        <a:pt x="2035" y="25"/>
                        <a:pt x="2034" y="18"/>
                      </a:cubicBezTo>
                      <a:cubicBezTo>
                        <a:pt x="2021" y="28"/>
                        <a:pt x="2010" y="46"/>
                        <a:pt x="2008" y="48"/>
                      </a:cubicBezTo>
                      <a:cubicBezTo>
                        <a:pt x="2004" y="51"/>
                        <a:pt x="1979" y="51"/>
                        <a:pt x="1970" y="53"/>
                      </a:cubicBezTo>
                      <a:cubicBezTo>
                        <a:pt x="1961" y="54"/>
                        <a:pt x="1959" y="59"/>
                        <a:pt x="1952" y="64"/>
                      </a:cubicBezTo>
                      <a:cubicBezTo>
                        <a:pt x="1944" y="70"/>
                        <a:pt x="1935" y="59"/>
                        <a:pt x="1924" y="52"/>
                      </a:cubicBezTo>
                      <a:cubicBezTo>
                        <a:pt x="1913" y="45"/>
                        <a:pt x="1898" y="44"/>
                        <a:pt x="1887" y="43"/>
                      </a:cubicBezTo>
                      <a:cubicBezTo>
                        <a:pt x="1875" y="42"/>
                        <a:pt x="1880" y="35"/>
                        <a:pt x="1876" y="28"/>
                      </a:cubicBezTo>
                      <a:cubicBezTo>
                        <a:pt x="1872" y="21"/>
                        <a:pt x="1759" y="25"/>
                        <a:pt x="1757" y="25"/>
                      </a:cubicBezTo>
                      <a:cubicBezTo>
                        <a:pt x="1755" y="25"/>
                        <a:pt x="1677" y="11"/>
                        <a:pt x="1635" y="5"/>
                      </a:cubicBezTo>
                      <a:cubicBezTo>
                        <a:pt x="1623" y="3"/>
                        <a:pt x="1614" y="2"/>
                        <a:pt x="1611" y="2"/>
                      </a:cubicBezTo>
                      <a:cubicBezTo>
                        <a:pt x="1598" y="2"/>
                        <a:pt x="1588" y="0"/>
                        <a:pt x="1576" y="6"/>
                      </a:cubicBezTo>
                      <a:cubicBezTo>
                        <a:pt x="1564" y="12"/>
                        <a:pt x="1520" y="20"/>
                        <a:pt x="1508" y="21"/>
                      </a:cubicBezTo>
                      <a:cubicBezTo>
                        <a:pt x="1497" y="22"/>
                        <a:pt x="1495" y="34"/>
                        <a:pt x="1484" y="47"/>
                      </a:cubicBezTo>
                      <a:cubicBezTo>
                        <a:pt x="1473" y="60"/>
                        <a:pt x="1464" y="56"/>
                        <a:pt x="1459" y="66"/>
                      </a:cubicBezTo>
                      <a:cubicBezTo>
                        <a:pt x="1454" y="76"/>
                        <a:pt x="1410" y="80"/>
                        <a:pt x="1397" y="88"/>
                      </a:cubicBezTo>
                      <a:cubicBezTo>
                        <a:pt x="1384" y="96"/>
                        <a:pt x="1352" y="92"/>
                        <a:pt x="1336" y="91"/>
                      </a:cubicBezTo>
                      <a:cubicBezTo>
                        <a:pt x="1320" y="90"/>
                        <a:pt x="1312" y="99"/>
                        <a:pt x="1304" y="105"/>
                      </a:cubicBezTo>
                      <a:cubicBezTo>
                        <a:pt x="1302" y="106"/>
                        <a:pt x="1299" y="109"/>
                        <a:pt x="1296" y="112"/>
                      </a:cubicBezTo>
                      <a:cubicBezTo>
                        <a:pt x="1288" y="120"/>
                        <a:pt x="1279" y="130"/>
                        <a:pt x="1276" y="135"/>
                      </a:cubicBezTo>
                      <a:cubicBezTo>
                        <a:pt x="1273" y="142"/>
                        <a:pt x="1269" y="171"/>
                        <a:pt x="1265" y="181"/>
                      </a:cubicBezTo>
                      <a:cubicBezTo>
                        <a:pt x="1260" y="191"/>
                        <a:pt x="1271" y="294"/>
                        <a:pt x="1267" y="308"/>
                      </a:cubicBezTo>
                      <a:cubicBezTo>
                        <a:pt x="1262" y="322"/>
                        <a:pt x="1275" y="351"/>
                        <a:pt x="1275" y="363"/>
                      </a:cubicBezTo>
                      <a:cubicBezTo>
                        <a:pt x="1275" y="376"/>
                        <a:pt x="1288" y="389"/>
                        <a:pt x="1291" y="402"/>
                      </a:cubicBezTo>
                      <a:cubicBezTo>
                        <a:pt x="1295" y="415"/>
                        <a:pt x="1310" y="433"/>
                        <a:pt x="1318" y="455"/>
                      </a:cubicBezTo>
                      <a:cubicBezTo>
                        <a:pt x="1326" y="477"/>
                        <a:pt x="1345" y="502"/>
                        <a:pt x="1358" y="522"/>
                      </a:cubicBezTo>
                      <a:cubicBezTo>
                        <a:pt x="1371" y="542"/>
                        <a:pt x="1369" y="545"/>
                        <a:pt x="1369" y="548"/>
                      </a:cubicBezTo>
                      <a:cubicBezTo>
                        <a:pt x="1369" y="550"/>
                        <a:pt x="1361" y="571"/>
                        <a:pt x="1358" y="580"/>
                      </a:cubicBezTo>
                      <a:cubicBezTo>
                        <a:pt x="1356" y="589"/>
                        <a:pt x="1342" y="593"/>
                        <a:pt x="1327" y="601"/>
                      </a:cubicBezTo>
                      <a:cubicBezTo>
                        <a:pt x="1312" y="609"/>
                        <a:pt x="1312" y="608"/>
                        <a:pt x="1304" y="615"/>
                      </a:cubicBezTo>
                      <a:cubicBezTo>
                        <a:pt x="1296" y="623"/>
                        <a:pt x="1215" y="626"/>
                        <a:pt x="1212" y="627"/>
                      </a:cubicBezTo>
                      <a:cubicBezTo>
                        <a:pt x="1210" y="628"/>
                        <a:pt x="1193" y="629"/>
                        <a:pt x="1180" y="635"/>
                      </a:cubicBezTo>
                      <a:cubicBezTo>
                        <a:pt x="1166" y="642"/>
                        <a:pt x="1134" y="660"/>
                        <a:pt x="1125" y="664"/>
                      </a:cubicBezTo>
                      <a:cubicBezTo>
                        <a:pt x="1115" y="669"/>
                        <a:pt x="1100" y="690"/>
                        <a:pt x="1096" y="695"/>
                      </a:cubicBezTo>
                      <a:cubicBezTo>
                        <a:pt x="1093" y="699"/>
                        <a:pt x="1071" y="690"/>
                        <a:pt x="1070" y="699"/>
                      </a:cubicBezTo>
                      <a:cubicBezTo>
                        <a:pt x="1069" y="709"/>
                        <a:pt x="1048" y="729"/>
                        <a:pt x="1042" y="735"/>
                      </a:cubicBezTo>
                      <a:cubicBezTo>
                        <a:pt x="1035" y="741"/>
                        <a:pt x="1026" y="747"/>
                        <a:pt x="1018" y="753"/>
                      </a:cubicBezTo>
                      <a:cubicBezTo>
                        <a:pt x="1010" y="758"/>
                        <a:pt x="999" y="775"/>
                        <a:pt x="996" y="783"/>
                      </a:cubicBezTo>
                      <a:cubicBezTo>
                        <a:pt x="994" y="791"/>
                        <a:pt x="981" y="794"/>
                        <a:pt x="973" y="807"/>
                      </a:cubicBezTo>
                      <a:cubicBezTo>
                        <a:pt x="964" y="820"/>
                        <a:pt x="947" y="824"/>
                        <a:pt x="937" y="835"/>
                      </a:cubicBezTo>
                      <a:cubicBezTo>
                        <a:pt x="927" y="845"/>
                        <a:pt x="917" y="856"/>
                        <a:pt x="909" y="862"/>
                      </a:cubicBezTo>
                      <a:cubicBezTo>
                        <a:pt x="902" y="868"/>
                        <a:pt x="901" y="865"/>
                        <a:pt x="894" y="871"/>
                      </a:cubicBezTo>
                      <a:cubicBezTo>
                        <a:pt x="888" y="876"/>
                        <a:pt x="887" y="890"/>
                        <a:pt x="883" y="897"/>
                      </a:cubicBezTo>
                      <a:cubicBezTo>
                        <a:pt x="878" y="904"/>
                        <a:pt x="864" y="899"/>
                        <a:pt x="859" y="903"/>
                      </a:cubicBezTo>
                      <a:cubicBezTo>
                        <a:pt x="854" y="907"/>
                        <a:pt x="839" y="924"/>
                        <a:pt x="831" y="931"/>
                      </a:cubicBezTo>
                      <a:cubicBezTo>
                        <a:pt x="823" y="938"/>
                        <a:pt x="772" y="968"/>
                        <a:pt x="761" y="974"/>
                      </a:cubicBezTo>
                      <a:cubicBezTo>
                        <a:pt x="749" y="980"/>
                        <a:pt x="745" y="981"/>
                        <a:pt x="739" y="987"/>
                      </a:cubicBezTo>
                      <a:cubicBezTo>
                        <a:pt x="732" y="994"/>
                        <a:pt x="714" y="1012"/>
                        <a:pt x="702" y="1016"/>
                      </a:cubicBezTo>
                      <a:cubicBezTo>
                        <a:pt x="691" y="1020"/>
                        <a:pt x="681" y="1032"/>
                        <a:pt x="674" y="1040"/>
                      </a:cubicBezTo>
                      <a:cubicBezTo>
                        <a:pt x="667" y="1048"/>
                        <a:pt x="662" y="1044"/>
                        <a:pt x="655" y="1048"/>
                      </a:cubicBezTo>
                      <a:cubicBezTo>
                        <a:pt x="648" y="1051"/>
                        <a:pt x="630" y="1063"/>
                        <a:pt x="626" y="1063"/>
                      </a:cubicBezTo>
                      <a:cubicBezTo>
                        <a:pt x="621" y="1063"/>
                        <a:pt x="608" y="1073"/>
                        <a:pt x="599" y="1076"/>
                      </a:cubicBezTo>
                      <a:cubicBezTo>
                        <a:pt x="590" y="1080"/>
                        <a:pt x="556" y="1088"/>
                        <a:pt x="544" y="1095"/>
                      </a:cubicBezTo>
                      <a:cubicBezTo>
                        <a:pt x="535" y="1101"/>
                        <a:pt x="497" y="1101"/>
                        <a:pt x="473" y="1103"/>
                      </a:cubicBezTo>
                      <a:cubicBezTo>
                        <a:pt x="463" y="1103"/>
                        <a:pt x="455" y="1104"/>
                        <a:pt x="454" y="1106"/>
                      </a:cubicBezTo>
                      <a:cubicBezTo>
                        <a:pt x="450" y="1111"/>
                        <a:pt x="440" y="1129"/>
                        <a:pt x="430" y="1144"/>
                      </a:cubicBezTo>
                      <a:cubicBezTo>
                        <a:pt x="420" y="1158"/>
                        <a:pt x="421" y="1145"/>
                        <a:pt x="416" y="1145"/>
                      </a:cubicBezTo>
                      <a:cubicBezTo>
                        <a:pt x="410" y="1145"/>
                        <a:pt x="408" y="1155"/>
                        <a:pt x="401" y="1165"/>
                      </a:cubicBezTo>
                      <a:cubicBezTo>
                        <a:pt x="394" y="1175"/>
                        <a:pt x="313" y="1161"/>
                        <a:pt x="305" y="1156"/>
                      </a:cubicBezTo>
                      <a:cubicBezTo>
                        <a:pt x="297" y="1151"/>
                        <a:pt x="259" y="1136"/>
                        <a:pt x="243" y="1134"/>
                      </a:cubicBezTo>
                      <a:cubicBezTo>
                        <a:pt x="227" y="1132"/>
                        <a:pt x="221" y="1135"/>
                        <a:pt x="210" y="1139"/>
                      </a:cubicBezTo>
                      <a:cubicBezTo>
                        <a:pt x="199" y="1143"/>
                        <a:pt x="193" y="1160"/>
                        <a:pt x="183" y="1167"/>
                      </a:cubicBezTo>
                      <a:cubicBezTo>
                        <a:pt x="174" y="1173"/>
                        <a:pt x="174" y="1204"/>
                        <a:pt x="174" y="1204"/>
                      </a:cubicBezTo>
                      <a:cubicBezTo>
                        <a:pt x="187" y="1204"/>
                        <a:pt x="187" y="1204"/>
                        <a:pt x="187" y="1204"/>
                      </a:cubicBezTo>
                      <a:cubicBezTo>
                        <a:pt x="187" y="1204"/>
                        <a:pt x="188" y="1235"/>
                        <a:pt x="188" y="1242"/>
                      </a:cubicBezTo>
                      <a:cubicBezTo>
                        <a:pt x="189" y="1248"/>
                        <a:pt x="209" y="1266"/>
                        <a:pt x="217" y="1277"/>
                      </a:cubicBezTo>
                      <a:cubicBezTo>
                        <a:pt x="225" y="1289"/>
                        <a:pt x="232" y="1318"/>
                        <a:pt x="232" y="1318"/>
                      </a:cubicBezTo>
                      <a:cubicBezTo>
                        <a:pt x="233" y="1390"/>
                        <a:pt x="233" y="1390"/>
                        <a:pt x="233" y="1390"/>
                      </a:cubicBezTo>
                      <a:cubicBezTo>
                        <a:pt x="222" y="1390"/>
                        <a:pt x="222" y="1390"/>
                        <a:pt x="222" y="1390"/>
                      </a:cubicBezTo>
                      <a:cubicBezTo>
                        <a:pt x="222" y="1390"/>
                        <a:pt x="220" y="1397"/>
                        <a:pt x="219" y="1409"/>
                      </a:cubicBezTo>
                      <a:cubicBezTo>
                        <a:pt x="218" y="1420"/>
                        <a:pt x="194" y="1428"/>
                        <a:pt x="186" y="1431"/>
                      </a:cubicBezTo>
                      <a:cubicBezTo>
                        <a:pt x="177" y="1435"/>
                        <a:pt x="167" y="1442"/>
                        <a:pt x="160" y="1448"/>
                      </a:cubicBezTo>
                      <a:cubicBezTo>
                        <a:pt x="154" y="1454"/>
                        <a:pt x="150" y="1465"/>
                        <a:pt x="138" y="1470"/>
                      </a:cubicBezTo>
                      <a:cubicBezTo>
                        <a:pt x="126" y="1476"/>
                        <a:pt x="92" y="1506"/>
                        <a:pt x="87" y="1507"/>
                      </a:cubicBezTo>
                      <a:cubicBezTo>
                        <a:pt x="82" y="1507"/>
                        <a:pt x="51" y="1521"/>
                        <a:pt x="45" y="1516"/>
                      </a:cubicBezTo>
                      <a:cubicBezTo>
                        <a:pt x="44" y="1524"/>
                        <a:pt x="42" y="1533"/>
                        <a:pt x="41" y="1539"/>
                      </a:cubicBezTo>
                      <a:cubicBezTo>
                        <a:pt x="37" y="1555"/>
                        <a:pt x="16" y="1605"/>
                        <a:pt x="12" y="1609"/>
                      </a:cubicBezTo>
                      <a:cubicBezTo>
                        <a:pt x="7" y="1614"/>
                        <a:pt x="5" y="1645"/>
                        <a:pt x="2" y="1647"/>
                      </a:cubicBezTo>
                      <a:cubicBezTo>
                        <a:pt x="0" y="1649"/>
                        <a:pt x="30" y="1651"/>
                        <a:pt x="39" y="1641"/>
                      </a:cubicBezTo>
                      <a:cubicBezTo>
                        <a:pt x="48" y="1632"/>
                        <a:pt x="116" y="1585"/>
                        <a:pt x="120" y="1585"/>
                      </a:cubicBezTo>
                      <a:cubicBezTo>
                        <a:pt x="123" y="1585"/>
                        <a:pt x="153" y="1588"/>
                        <a:pt x="168" y="1588"/>
                      </a:cubicBezTo>
                      <a:cubicBezTo>
                        <a:pt x="182" y="1588"/>
                        <a:pt x="187" y="1569"/>
                        <a:pt x="194" y="1567"/>
                      </a:cubicBezTo>
                      <a:cubicBezTo>
                        <a:pt x="202" y="1565"/>
                        <a:pt x="217" y="1561"/>
                        <a:pt x="236" y="1557"/>
                      </a:cubicBezTo>
                      <a:cubicBezTo>
                        <a:pt x="254" y="1552"/>
                        <a:pt x="324" y="1534"/>
                        <a:pt x="326" y="1534"/>
                      </a:cubicBezTo>
                      <a:cubicBezTo>
                        <a:pt x="329" y="1534"/>
                        <a:pt x="407" y="1546"/>
                        <a:pt x="422" y="1552"/>
                      </a:cubicBezTo>
                      <a:cubicBezTo>
                        <a:pt x="436" y="1558"/>
                        <a:pt x="424" y="1575"/>
                        <a:pt x="424" y="1575"/>
                      </a:cubicBezTo>
                      <a:cubicBezTo>
                        <a:pt x="424" y="1575"/>
                        <a:pt x="437" y="1582"/>
                        <a:pt x="448" y="1585"/>
                      </a:cubicBezTo>
                      <a:cubicBezTo>
                        <a:pt x="458" y="1587"/>
                        <a:pt x="470" y="1613"/>
                        <a:pt x="472" y="1617"/>
                      </a:cubicBezTo>
                      <a:cubicBezTo>
                        <a:pt x="474" y="1622"/>
                        <a:pt x="485" y="1626"/>
                        <a:pt x="504" y="1630"/>
                      </a:cubicBezTo>
                      <a:cubicBezTo>
                        <a:pt x="522" y="1634"/>
                        <a:pt x="552" y="1685"/>
                        <a:pt x="552" y="1685"/>
                      </a:cubicBezTo>
                      <a:cubicBezTo>
                        <a:pt x="552" y="1685"/>
                        <a:pt x="558" y="1684"/>
                        <a:pt x="568" y="1686"/>
                      </a:cubicBezTo>
                      <a:cubicBezTo>
                        <a:pt x="578" y="1688"/>
                        <a:pt x="587" y="1709"/>
                        <a:pt x="596" y="1725"/>
                      </a:cubicBezTo>
                      <a:cubicBezTo>
                        <a:pt x="604" y="1740"/>
                        <a:pt x="620" y="1773"/>
                        <a:pt x="620" y="1773"/>
                      </a:cubicBezTo>
                      <a:cubicBezTo>
                        <a:pt x="620" y="1773"/>
                        <a:pt x="638" y="1776"/>
                        <a:pt x="640" y="1778"/>
                      </a:cubicBezTo>
                      <a:cubicBezTo>
                        <a:pt x="642" y="1780"/>
                        <a:pt x="686" y="1837"/>
                        <a:pt x="687" y="1840"/>
                      </a:cubicBezTo>
                      <a:cubicBezTo>
                        <a:pt x="688" y="1843"/>
                        <a:pt x="695" y="1859"/>
                        <a:pt x="695" y="1901"/>
                      </a:cubicBezTo>
                      <a:cubicBezTo>
                        <a:pt x="695" y="1943"/>
                        <a:pt x="684" y="2032"/>
                        <a:pt x="676" y="2046"/>
                      </a:cubicBezTo>
                      <a:cubicBezTo>
                        <a:pt x="669" y="2060"/>
                        <a:pt x="668" y="2162"/>
                        <a:pt x="660" y="2175"/>
                      </a:cubicBezTo>
                      <a:cubicBezTo>
                        <a:pt x="651" y="2187"/>
                        <a:pt x="641" y="2182"/>
                        <a:pt x="622" y="2195"/>
                      </a:cubicBezTo>
                      <a:cubicBezTo>
                        <a:pt x="604" y="2207"/>
                        <a:pt x="590" y="2201"/>
                        <a:pt x="577" y="2205"/>
                      </a:cubicBezTo>
                      <a:cubicBezTo>
                        <a:pt x="564" y="2209"/>
                        <a:pt x="556" y="2236"/>
                        <a:pt x="542" y="2266"/>
                      </a:cubicBezTo>
                      <a:cubicBezTo>
                        <a:pt x="528" y="2296"/>
                        <a:pt x="529" y="2336"/>
                        <a:pt x="520" y="2347"/>
                      </a:cubicBezTo>
                      <a:cubicBezTo>
                        <a:pt x="512" y="2359"/>
                        <a:pt x="490" y="2381"/>
                        <a:pt x="485" y="2397"/>
                      </a:cubicBezTo>
                      <a:cubicBezTo>
                        <a:pt x="480" y="2414"/>
                        <a:pt x="477" y="2495"/>
                        <a:pt x="483" y="2513"/>
                      </a:cubicBezTo>
                      <a:cubicBezTo>
                        <a:pt x="489" y="2530"/>
                        <a:pt x="493" y="2631"/>
                        <a:pt x="493" y="2631"/>
                      </a:cubicBezTo>
                      <a:cubicBezTo>
                        <a:pt x="493" y="2631"/>
                        <a:pt x="485" y="2629"/>
                        <a:pt x="482" y="2648"/>
                      </a:cubicBezTo>
                      <a:cubicBezTo>
                        <a:pt x="480" y="2660"/>
                        <a:pt x="474" y="2702"/>
                        <a:pt x="471" y="2734"/>
                      </a:cubicBezTo>
                      <a:cubicBezTo>
                        <a:pt x="494" y="2732"/>
                        <a:pt x="494" y="2732"/>
                        <a:pt x="494" y="2732"/>
                      </a:cubicBezTo>
                      <a:cubicBezTo>
                        <a:pt x="494" y="2732"/>
                        <a:pt x="494" y="2719"/>
                        <a:pt x="496" y="2700"/>
                      </a:cubicBezTo>
                      <a:cubicBezTo>
                        <a:pt x="498" y="2681"/>
                        <a:pt x="528" y="2612"/>
                        <a:pt x="528" y="2612"/>
                      </a:cubicBezTo>
                      <a:cubicBezTo>
                        <a:pt x="526" y="2556"/>
                        <a:pt x="526" y="2556"/>
                        <a:pt x="526" y="2556"/>
                      </a:cubicBezTo>
                      <a:cubicBezTo>
                        <a:pt x="526" y="2556"/>
                        <a:pt x="535" y="2541"/>
                        <a:pt x="548" y="2529"/>
                      </a:cubicBezTo>
                      <a:cubicBezTo>
                        <a:pt x="561" y="2517"/>
                        <a:pt x="548" y="2487"/>
                        <a:pt x="561" y="2487"/>
                      </a:cubicBezTo>
                      <a:cubicBezTo>
                        <a:pt x="574" y="2487"/>
                        <a:pt x="624" y="2503"/>
                        <a:pt x="628" y="2503"/>
                      </a:cubicBezTo>
                      <a:cubicBezTo>
                        <a:pt x="632" y="2503"/>
                        <a:pt x="646" y="2505"/>
                        <a:pt x="650" y="2505"/>
                      </a:cubicBezTo>
                      <a:cubicBezTo>
                        <a:pt x="654" y="2505"/>
                        <a:pt x="690" y="2449"/>
                        <a:pt x="710" y="2425"/>
                      </a:cubicBezTo>
                      <a:cubicBezTo>
                        <a:pt x="730" y="2401"/>
                        <a:pt x="760" y="2380"/>
                        <a:pt x="780" y="2366"/>
                      </a:cubicBezTo>
                      <a:cubicBezTo>
                        <a:pt x="800" y="2352"/>
                        <a:pt x="810" y="2326"/>
                        <a:pt x="812" y="2314"/>
                      </a:cubicBezTo>
                      <a:cubicBezTo>
                        <a:pt x="814" y="2302"/>
                        <a:pt x="842" y="2305"/>
                        <a:pt x="853" y="2301"/>
                      </a:cubicBezTo>
                      <a:cubicBezTo>
                        <a:pt x="864" y="2297"/>
                        <a:pt x="870" y="2276"/>
                        <a:pt x="870" y="2273"/>
                      </a:cubicBezTo>
                      <a:cubicBezTo>
                        <a:pt x="870" y="2270"/>
                        <a:pt x="890" y="2261"/>
                        <a:pt x="890" y="2261"/>
                      </a:cubicBezTo>
                      <a:cubicBezTo>
                        <a:pt x="890" y="2261"/>
                        <a:pt x="901" y="2274"/>
                        <a:pt x="903" y="2279"/>
                      </a:cubicBezTo>
                      <a:cubicBezTo>
                        <a:pt x="905" y="2284"/>
                        <a:pt x="895" y="2292"/>
                        <a:pt x="895" y="2292"/>
                      </a:cubicBezTo>
                      <a:cubicBezTo>
                        <a:pt x="895" y="2292"/>
                        <a:pt x="905" y="2316"/>
                        <a:pt x="904" y="2324"/>
                      </a:cubicBezTo>
                      <a:cubicBezTo>
                        <a:pt x="903" y="2332"/>
                        <a:pt x="900" y="2352"/>
                        <a:pt x="900" y="2352"/>
                      </a:cubicBezTo>
                      <a:cubicBezTo>
                        <a:pt x="917" y="2392"/>
                        <a:pt x="917" y="2392"/>
                        <a:pt x="917" y="2392"/>
                      </a:cubicBezTo>
                      <a:cubicBezTo>
                        <a:pt x="917" y="2392"/>
                        <a:pt x="987" y="2392"/>
                        <a:pt x="1030" y="2388"/>
                      </a:cubicBezTo>
                      <a:cubicBezTo>
                        <a:pt x="1073" y="2384"/>
                        <a:pt x="1159" y="2372"/>
                        <a:pt x="1159" y="2372"/>
                      </a:cubicBezTo>
                      <a:cubicBezTo>
                        <a:pt x="1179" y="2387"/>
                        <a:pt x="1179" y="2387"/>
                        <a:pt x="1179" y="2387"/>
                      </a:cubicBezTo>
                      <a:cubicBezTo>
                        <a:pt x="1179" y="2387"/>
                        <a:pt x="1204" y="2381"/>
                        <a:pt x="1220" y="2367"/>
                      </a:cubicBezTo>
                      <a:cubicBezTo>
                        <a:pt x="1236" y="2353"/>
                        <a:pt x="1246" y="2289"/>
                        <a:pt x="1246" y="2289"/>
                      </a:cubicBezTo>
                      <a:cubicBezTo>
                        <a:pt x="1246" y="2289"/>
                        <a:pt x="1244" y="2176"/>
                        <a:pt x="1247" y="2163"/>
                      </a:cubicBezTo>
                      <a:cubicBezTo>
                        <a:pt x="1250" y="2150"/>
                        <a:pt x="1268" y="2154"/>
                        <a:pt x="1276" y="2158"/>
                      </a:cubicBezTo>
                      <a:cubicBezTo>
                        <a:pt x="1284" y="2162"/>
                        <a:pt x="1279" y="2223"/>
                        <a:pt x="1279" y="2223"/>
                      </a:cubicBezTo>
                      <a:cubicBezTo>
                        <a:pt x="1302" y="2253"/>
                        <a:pt x="1302" y="2253"/>
                        <a:pt x="1302" y="2253"/>
                      </a:cubicBezTo>
                      <a:cubicBezTo>
                        <a:pt x="1350" y="2254"/>
                        <a:pt x="1350" y="2254"/>
                        <a:pt x="1350" y="2254"/>
                      </a:cubicBezTo>
                      <a:cubicBezTo>
                        <a:pt x="1351" y="2272"/>
                        <a:pt x="1351" y="2272"/>
                        <a:pt x="1351" y="2272"/>
                      </a:cubicBezTo>
                      <a:cubicBezTo>
                        <a:pt x="1351" y="2272"/>
                        <a:pt x="1379" y="2299"/>
                        <a:pt x="1381" y="2304"/>
                      </a:cubicBezTo>
                      <a:cubicBezTo>
                        <a:pt x="1383" y="2309"/>
                        <a:pt x="1400" y="2304"/>
                        <a:pt x="1406" y="2306"/>
                      </a:cubicBezTo>
                      <a:cubicBezTo>
                        <a:pt x="1412" y="2308"/>
                        <a:pt x="1416" y="2340"/>
                        <a:pt x="1419" y="2338"/>
                      </a:cubicBezTo>
                      <a:cubicBezTo>
                        <a:pt x="1422" y="2336"/>
                        <a:pt x="1444" y="2320"/>
                        <a:pt x="1444" y="2320"/>
                      </a:cubicBezTo>
                      <a:cubicBezTo>
                        <a:pt x="1490" y="2356"/>
                        <a:pt x="1490" y="2356"/>
                        <a:pt x="1490" y="2356"/>
                      </a:cubicBezTo>
                      <a:cubicBezTo>
                        <a:pt x="1490" y="2356"/>
                        <a:pt x="1476" y="2408"/>
                        <a:pt x="1472" y="2426"/>
                      </a:cubicBezTo>
                      <a:cubicBezTo>
                        <a:pt x="1468" y="2444"/>
                        <a:pt x="1518" y="2475"/>
                        <a:pt x="1535" y="2495"/>
                      </a:cubicBezTo>
                      <a:cubicBezTo>
                        <a:pt x="1552" y="2515"/>
                        <a:pt x="1557" y="2540"/>
                        <a:pt x="1561" y="2559"/>
                      </a:cubicBezTo>
                      <a:cubicBezTo>
                        <a:pt x="1565" y="2578"/>
                        <a:pt x="1626" y="2580"/>
                        <a:pt x="1634" y="2579"/>
                      </a:cubicBezTo>
                      <a:cubicBezTo>
                        <a:pt x="1642" y="2578"/>
                        <a:pt x="1660" y="2546"/>
                        <a:pt x="1663" y="2545"/>
                      </a:cubicBezTo>
                      <a:cubicBezTo>
                        <a:pt x="1666" y="2544"/>
                        <a:pt x="1715" y="2558"/>
                        <a:pt x="1721" y="2571"/>
                      </a:cubicBezTo>
                      <a:cubicBezTo>
                        <a:pt x="1727" y="2584"/>
                        <a:pt x="1715" y="2620"/>
                        <a:pt x="1715" y="2620"/>
                      </a:cubicBezTo>
                      <a:cubicBezTo>
                        <a:pt x="1714" y="2703"/>
                        <a:pt x="1714" y="2703"/>
                        <a:pt x="1714" y="2703"/>
                      </a:cubicBezTo>
                      <a:cubicBezTo>
                        <a:pt x="1751" y="2709"/>
                        <a:pt x="1751" y="2709"/>
                        <a:pt x="1751" y="2709"/>
                      </a:cubicBezTo>
                      <a:cubicBezTo>
                        <a:pt x="1751" y="2709"/>
                        <a:pt x="1756" y="2704"/>
                        <a:pt x="1777" y="2696"/>
                      </a:cubicBezTo>
                      <a:cubicBezTo>
                        <a:pt x="1798" y="2688"/>
                        <a:pt x="1832" y="2726"/>
                        <a:pt x="1853" y="2730"/>
                      </a:cubicBezTo>
                      <a:cubicBezTo>
                        <a:pt x="1874" y="2734"/>
                        <a:pt x="1878" y="2711"/>
                        <a:pt x="1878" y="2711"/>
                      </a:cubicBezTo>
                      <a:cubicBezTo>
                        <a:pt x="1907" y="2742"/>
                        <a:pt x="1907" y="2742"/>
                        <a:pt x="1907" y="2742"/>
                      </a:cubicBezTo>
                      <a:cubicBezTo>
                        <a:pt x="1907" y="2742"/>
                        <a:pt x="1939" y="2741"/>
                        <a:pt x="1941" y="2738"/>
                      </a:cubicBezTo>
                      <a:cubicBezTo>
                        <a:pt x="1943" y="2735"/>
                        <a:pt x="1962" y="2725"/>
                        <a:pt x="1969" y="2721"/>
                      </a:cubicBezTo>
                      <a:cubicBezTo>
                        <a:pt x="1976" y="2717"/>
                        <a:pt x="2010" y="2722"/>
                        <a:pt x="2015" y="2722"/>
                      </a:cubicBezTo>
                      <a:cubicBezTo>
                        <a:pt x="2020" y="2722"/>
                        <a:pt x="2008" y="2662"/>
                        <a:pt x="2011" y="2656"/>
                      </a:cubicBezTo>
                      <a:cubicBezTo>
                        <a:pt x="2014" y="2650"/>
                        <a:pt x="2069" y="2654"/>
                        <a:pt x="2083" y="2654"/>
                      </a:cubicBezTo>
                      <a:cubicBezTo>
                        <a:pt x="2097" y="2654"/>
                        <a:pt x="2104" y="2623"/>
                        <a:pt x="2107" y="2615"/>
                      </a:cubicBezTo>
                      <a:cubicBezTo>
                        <a:pt x="2110" y="2607"/>
                        <a:pt x="2124" y="2611"/>
                        <a:pt x="2128" y="2610"/>
                      </a:cubicBezTo>
                      <a:cubicBezTo>
                        <a:pt x="2132" y="2609"/>
                        <a:pt x="2122" y="2558"/>
                        <a:pt x="2122" y="2558"/>
                      </a:cubicBezTo>
                      <a:cubicBezTo>
                        <a:pt x="2145" y="2548"/>
                        <a:pt x="2145" y="2548"/>
                        <a:pt x="2145" y="2548"/>
                      </a:cubicBezTo>
                      <a:cubicBezTo>
                        <a:pt x="2152" y="2520"/>
                        <a:pt x="2152" y="2520"/>
                        <a:pt x="2152" y="2520"/>
                      </a:cubicBezTo>
                      <a:cubicBezTo>
                        <a:pt x="2140" y="2501"/>
                        <a:pt x="2140" y="2501"/>
                        <a:pt x="2140" y="2501"/>
                      </a:cubicBezTo>
                      <a:cubicBezTo>
                        <a:pt x="2140" y="2501"/>
                        <a:pt x="2158" y="2481"/>
                        <a:pt x="2159" y="2471"/>
                      </a:cubicBezTo>
                      <a:cubicBezTo>
                        <a:pt x="2160" y="2461"/>
                        <a:pt x="2136" y="2428"/>
                        <a:pt x="2136" y="2428"/>
                      </a:cubicBezTo>
                      <a:cubicBezTo>
                        <a:pt x="2136" y="2428"/>
                        <a:pt x="2127" y="2416"/>
                        <a:pt x="2132" y="2399"/>
                      </a:cubicBezTo>
                      <a:cubicBezTo>
                        <a:pt x="2137" y="2382"/>
                        <a:pt x="2180" y="2380"/>
                        <a:pt x="2183" y="2380"/>
                      </a:cubicBezTo>
                      <a:cubicBezTo>
                        <a:pt x="2186" y="2380"/>
                        <a:pt x="2189" y="2314"/>
                        <a:pt x="2189" y="2314"/>
                      </a:cubicBezTo>
                      <a:cubicBezTo>
                        <a:pt x="2235" y="2302"/>
                        <a:pt x="2235" y="2302"/>
                        <a:pt x="2235" y="2302"/>
                      </a:cubicBezTo>
                      <a:cubicBezTo>
                        <a:pt x="2242" y="2281"/>
                        <a:pt x="2242" y="2281"/>
                        <a:pt x="2242" y="2281"/>
                      </a:cubicBezTo>
                      <a:cubicBezTo>
                        <a:pt x="2260" y="2272"/>
                        <a:pt x="2260" y="2272"/>
                        <a:pt x="2260" y="2272"/>
                      </a:cubicBezTo>
                      <a:cubicBezTo>
                        <a:pt x="2264" y="2244"/>
                        <a:pt x="2264" y="2244"/>
                        <a:pt x="2264" y="2244"/>
                      </a:cubicBezTo>
                      <a:cubicBezTo>
                        <a:pt x="2264" y="2244"/>
                        <a:pt x="2376" y="2237"/>
                        <a:pt x="2380" y="2225"/>
                      </a:cubicBezTo>
                      <a:cubicBezTo>
                        <a:pt x="2384" y="2213"/>
                        <a:pt x="2354" y="2147"/>
                        <a:pt x="2354" y="2147"/>
                      </a:cubicBezTo>
                      <a:cubicBezTo>
                        <a:pt x="2354" y="2147"/>
                        <a:pt x="2343" y="2077"/>
                        <a:pt x="2347" y="2034"/>
                      </a:cubicBezTo>
                      <a:cubicBezTo>
                        <a:pt x="2351" y="1995"/>
                        <a:pt x="2427" y="1924"/>
                        <a:pt x="2441" y="1911"/>
                      </a:cubicBezTo>
                      <a:cubicBezTo>
                        <a:pt x="2436" y="1903"/>
                        <a:pt x="2430" y="1894"/>
                        <a:pt x="2424" y="1889"/>
                      </a:cubicBezTo>
                      <a:cubicBezTo>
                        <a:pt x="2411" y="1876"/>
                        <a:pt x="2406" y="1877"/>
                        <a:pt x="2402" y="1863"/>
                      </a:cubicBezTo>
                      <a:close/>
                    </a:path>
                  </a:pathLst>
                </a:custGeom>
                <a:solidFill>
                  <a:schemeClr val="accent2"/>
                </a:solidFill>
                <a:ln w="3175" cap="flat" cmpd="sng">
                  <a:solidFill>
                    <a:schemeClr val="bg1"/>
                  </a:solidFill>
                  <a:prstDash val="solid"/>
                  <a:miter lim="800000"/>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59" name="Gruppieren 1">
                  <a:extLst>
                    <a:ext uri="{FF2B5EF4-FFF2-40B4-BE49-F238E27FC236}">
                      <a16:creationId xmlns:a16="http://schemas.microsoft.com/office/drawing/2014/main" id="{84BD628C-7B24-0B95-4FF5-9031606A907B}"/>
                    </a:ext>
                  </a:extLst>
                </p:cNvPr>
                <p:cNvGrpSpPr/>
                <p:nvPr/>
              </p:nvGrpSpPr>
              <p:grpSpPr>
                <a:xfrm>
                  <a:off x="4382430" y="2281048"/>
                  <a:ext cx="3826198" cy="3353659"/>
                  <a:chOff x="4382430" y="2281048"/>
                  <a:chExt cx="3826198" cy="3353659"/>
                </a:xfrm>
                <a:gradFill>
                  <a:gsLst>
                    <a:gs pos="0">
                      <a:schemeClr val="bg1">
                        <a:lumMod val="85000"/>
                      </a:schemeClr>
                    </a:gs>
                    <a:gs pos="100000">
                      <a:srgbClr val="9D9D9D"/>
                    </a:gs>
                  </a:gsLst>
                  <a:path path="circle">
                    <a:fillToRect r="100000" b="100000"/>
                  </a:path>
                </a:gradFill>
              </p:grpSpPr>
              <p:sp>
                <p:nvSpPr>
                  <p:cNvPr id="61" name="Freeform 538">
                    <a:extLst>
                      <a:ext uri="{FF2B5EF4-FFF2-40B4-BE49-F238E27FC236}">
                        <a16:creationId xmlns:a16="http://schemas.microsoft.com/office/drawing/2014/main" id="{7D5E3554-490A-26BC-AF1C-A7A45A16FA4F}"/>
                      </a:ext>
                    </a:extLst>
                  </p:cNvPr>
                  <p:cNvSpPr>
                    <a:spLocks noChangeAspect="1"/>
                  </p:cNvSpPr>
                  <p:nvPr/>
                </p:nvSpPr>
                <p:spPr bwMode="auto">
                  <a:xfrm>
                    <a:off x="6177241" y="4744142"/>
                    <a:ext cx="590581" cy="768488"/>
                  </a:xfrm>
                  <a:custGeom>
                    <a:avLst/>
                    <a:gdLst>
                      <a:gd name="T0" fmla="*/ 1408 w 1508"/>
                      <a:gd name="T1" fmla="*/ 245 h 1970"/>
                      <a:gd name="T2" fmla="*/ 1177 w 1508"/>
                      <a:gd name="T3" fmla="*/ 233 h 1970"/>
                      <a:gd name="T4" fmla="*/ 1097 w 1508"/>
                      <a:gd name="T5" fmla="*/ 199 h 1970"/>
                      <a:gd name="T6" fmla="*/ 1092 w 1508"/>
                      <a:gd name="T7" fmla="*/ 84 h 1970"/>
                      <a:gd name="T8" fmla="*/ 806 w 1508"/>
                      <a:gd name="T9" fmla="*/ 20 h 1970"/>
                      <a:gd name="T10" fmla="*/ 748 w 1508"/>
                      <a:gd name="T11" fmla="*/ 19 h 1970"/>
                      <a:gd name="T12" fmla="*/ 681 w 1508"/>
                      <a:gd name="T13" fmla="*/ 65 h 1970"/>
                      <a:gd name="T14" fmla="*/ 776 w 1508"/>
                      <a:gd name="T15" fmla="*/ 88 h 1970"/>
                      <a:gd name="T16" fmla="*/ 686 w 1508"/>
                      <a:gd name="T17" fmla="*/ 153 h 1970"/>
                      <a:gd name="T18" fmla="*/ 558 w 1508"/>
                      <a:gd name="T19" fmla="*/ 192 h 1970"/>
                      <a:gd name="T20" fmla="*/ 486 w 1508"/>
                      <a:gd name="T21" fmla="*/ 246 h 1970"/>
                      <a:gd name="T22" fmla="*/ 528 w 1508"/>
                      <a:gd name="T23" fmla="*/ 288 h 1970"/>
                      <a:gd name="T24" fmla="*/ 577 w 1508"/>
                      <a:gd name="T25" fmla="*/ 382 h 1970"/>
                      <a:gd name="T26" fmla="*/ 642 w 1508"/>
                      <a:gd name="T27" fmla="*/ 477 h 1970"/>
                      <a:gd name="T28" fmla="*/ 578 w 1508"/>
                      <a:gd name="T29" fmla="*/ 528 h 1970"/>
                      <a:gd name="T30" fmla="*/ 526 w 1508"/>
                      <a:gd name="T31" fmla="*/ 597 h 1970"/>
                      <a:gd name="T32" fmla="*/ 465 w 1508"/>
                      <a:gd name="T33" fmla="*/ 655 h 1970"/>
                      <a:gd name="T34" fmla="*/ 449 w 1508"/>
                      <a:gd name="T35" fmla="*/ 744 h 1970"/>
                      <a:gd name="T36" fmla="*/ 366 w 1508"/>
                      <a:gd name="T37" fmla="*/ 799 h 1970"/>
                      <a:gd name="T38" fmla="*/ 275 w 1508"/>
                      <a:gd name="T39" fmla="*/ 833 h 1970"/>
                      <a:gd name="T40" fmla="*/ 212 w 1508"/>
                      <a:gd name="T41" fmla="*/ 783 h 1970"/>
                      <a:gd name="T42" fmla="*/ 139 w 1508"/>
                      <a:gd name="T43" fmla="*/ 801 h 1970"/>
                      <a:gd name="T44" fmla="*/ 93 w 1508"/>
                      <a:gd name="T45" fmla="*/ 938 h 1970"/>
                      <a:gd name="T46" fmla="*/ 83 w 1508"/>
                      <a:gd name="T47" fmla="*/ 997 h 1970"/>
                      <a:gd name="T48" fmla="*/ 49 w 1508"/>
                      <a:gd name="T49" fmla="*/ 1068 h 1970"/>
                      <a:gd name="T50" fmla="*/ 72 w 1508"/>
                      <a:gd name="T51" fmla="*/ 1165 h 1970"/>
                      <a:gd name="T52" fmla="*/ 99 w 1508"/>
                      <a:gd name="T53" fmla="*/ 1297 h 1970"/>
                      <a:gd name="T54" fmla="*/ 56 w 1508"/>
                      <a:gd name="T55" fmla="*/ 1329 h 1970"/>
                      <a:gd name="T56" fmla="*/ 48 w 1508"/>
                      <a:gd name="T57" fmla="*/ 1392 h 1970"/>
                      <a:gd name="T58" fmla="*/ 50 w 1508"/>
                      <a:gd name="T59" fmla="*/ 1426 h 1970"/>
                      <a:gd name="T60" fmla="*/ 126 w 1508"/>
                      <a:gd name="T61" fmla="*/ 1461 h 1970"/>
                      <a:gd name="T62" fmla="*/ 228 w 1508"/>
                      <a:gd name="T63" fmla="*/ 1556 h 1970"/>
                      <a:gd name="T64" fmla="*/ 275 w 1508"/>
                      <a:gd name="T65" fmla="*/ 1664 h 1970"/>
                      <a:gd name="T66" fmla="*/ 347 w 1508"/>
                      <a:gd name="T67" fmla="*/ 1730 h 1970"/>
                      <a:gd name="T68" fmla="*/ 417 w 1508"/>
                      <a:gd name="T69" fmla="*/ 1804 h 1970"/>
                      <a:gd name="T70" fmla="*/ 468 w 1508"/>
                      <a:gd name="T71" fmla="*/ 1865 h 1970"/>
                      <a:gd name="T72" fmla="*/ 526 w 1508"/>
                      <a:gd name="T73" fmla="*/ 1899 h 1970"/>
                      <a:gd name="T74" fmla="*/ 562 w 1508"/>
                      <a:gd name="T75" fmla="*/ 1904 h 1970"/>
                      <a:gd name="T76" fmla="*/ 610 w 1508"/>
                      <a:gd name="T77" fmla="*/ 1970 h 1970"/>
                      <a:gd name="T78" fmla="*/ 643 w 1508"/>
                      <a:gd name="T79" fmla="*/ 1880 h 1970"/>
                      <a:gd name="T80" fmla="*/ 725 w 1508"/>
                      <a:gd name="T81" fmla="*/ 1844 h 1970"/>
                      <a:gd name="T82" fmla="*/ 745 w 1508"/>
                      <a:gd name="T83" fmla="*/ 1783 h 1970"/>
                      <a:gd name="T84" fmla="*/ 764 w 1508"/>
                      <a:gd name="T85" fmla="*/ 1705 h 1970"/>
                      <a:gd name="T86" fmla="*/ 832 w 1508"/>
                      <a:gd name="T87" fmla="*/ 1593 h 1970"/>
                      <a:gd name="T88" fmla="*/ 892 w 1508"/>
                      <a:gd name="T89" fmla="*/ 1537 h 1970"/>
                      <a:gd name="T90" fmla="*/ 919 w 1508"/>
                      <a:gd name="T91" fmla="*/ 1309 h 1970"/>
                      <a:gd name="T92" fmla="*/ 933 w 1508"/>
                      <a:gd name="T93" fmla="*/ 1236 h 1970"/>
                      <a:gd name="T94" fmla="*/ 923 w 1508"/>
                      <a:gd name="T95" fmla="*/ 1107 h 1970"/>
                      <a:gd name="T96" fmla="*/ 889 w 1508"/>
                      <a:gd name="T97" fmla="*/ 1054 h 1970"/>
                      <a:gd name="T98" fmla="*/ 930 w 1508"/>
                      <a:gd name="T99" fmla="*/ 972 h 1970"/>
                      <a:gd name="T100" fmla="*/ 956 w 1508"/>
                      <a:gd name="T101" fmla="*/ 923 h 1970"/>
                      <a:gd name="T102" fmla="*/ 1069 w 1508"/>
                      <a:gd name="T103" fmla="*/ 811 h 1970"/>
                      <a:gd name="T104" fmla="*/ 1197 w 1508"/>
                      <a:gd name="T105" fmla="*/ 685 h 1970"/>
                      <a:gd name="T106" fmla="*/ 1324 w 1508"/>
                      <a:gd name="T107" fmla="*/ 559 h 1970"/>
                      <a:gd name="T108" fmla="*/ 1425 w 1508"/>
                      <a:gd name="T109" fmla="*/ 516 h 1970"/>
                      <a:gd name="T110" fmla="*/ 1506 w 1508"/>
                      <a:gd name="T111" fmla="*/ 345 h 1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08" h="1970">
                        <a:moveTo>
                          <a:pt x="1450" y="307"/>
                        </a:moveTo>
                        <a:cubicBezTo>
                          <a:pt x="1442" y="297"/>
                          <a:pt x="1427" y="289"/>
                          <a:pt x="1419" y="281"/>
                        </a:cubicBezTo>
                        <a:cubicBezTo>
                          <a:pt x="1411" y="273"/>
                          <a:pt x="1409" y="254"/>
                          <a:pt x="1408" y="245"/>
                        </a:cubicBezTo>
                        <a:cubicBezTo>
                          <a:pt x="1408" y="236"/>
                          <a:pt x="1394" y="220"/>
                          <a:pt x="1377" y="199"/>
                        </a:cubicBezTo>
                        <a:cubicBezTo>
                          <a:pt x="1360" y="178"/>
                          <a:pt x="1277" y="189"/>
                          <a:pt x="1242" y="188"/>
                        </a:cubicBezTo>
                        <a:cubicBezTo>
                          <a:pt x="1207" y="188"/>
                          <a:pt x="1183" y="230"/>
                          <a:pt x="1177" y="233"/>
                        </a:cubicBezTo>
                        <a:cubicBezTo>
                          <a:pt x="1171" y="235"/>
                          <a:pt x="1152" y="233"/>
                          <a:pt x="1144" y="233"/>
                        </a:cubicBezTo>
                        <a:cubicBezTo>
                          <a:pt x="1137" y="232"/>
                          <a:pt x="1126" y="218"/>
                          <a:pt x="1118" y="209"/>
                        </a:cubicBezTo>
                        <a:cubicBezTo>
                          <a:pt x="1110" y="200"/>
                          <a:pt x="1102" y="203"/>
                          <a:pt x="1097" y="199"/>
                        </a:cubicBezTo>
                        <a:cubicBezTo>
                          <a:pt x="1091" y="195"/>
                          <a:pt x="1093" y="186"/>
                          <a:pt x="1084" y="173"/>
                        </a:cubicBezTo>
                        <a:cubicBezTo>
                          <a:pt x="1075" y="160"/>
                          <a:pt x="1072" y="123"/>
                          <a:pt x="1072" y="123"/>
                        </a:cubicBezTo>
                        <a:cubicBezTo>
                          <a:pt x="1072" y="123"/>
                          <a:pt x="1079" y="97"/>
                          <a:pt x="1092" y="84"/>
                        </a:cubicBezTo>
                        <a:cubicBezTo>
                          <a:pt x="1106" y="71"/>
                          <a:pt x="1058" y="63"/>
                          <a:pt x="1028" y="54"/>
                        </a:cubicBezTo>
                        <a:cubicBezTo>
                          <a:pt x="998" y="46"/>
                          <a:pt x="928" y="37"/>
                          <a:pt x="916" y="31"/>
                        </a:cubicBezTo>
                        <a:cubicBezTo>
                          <a:pt x="904" y="24"/>
                          <a:pt x="817" y="23"/>
                          <a:pt x="806" y="20"/>
                        </a:cubicBezTo>
                        <a:cubicBezTo>
                          <a:pt x="794" y="17"/>
                          <a:pt x="796" y="5"/>
                          <a:pt x="789" y="2"/>
                        </a:cubicBezTo>
                        <a:cubicBezTo>
                          <a:pt x="783" y="0"/>
                          <a:pt x="756" y="3"/>
                          <a:pt x="756" y="3"/>
                        </a:cubicBezTo>
                        <a:cubicBezTo>
                          <a:pt x="756" y="3"/>
                          <a:pt x="754" y="12"/>
                          <a:pt x="748" y="19"/>
                        </a:cubicBezTo>
                        <a:cubicBezTo>
                          <a:pt x="742" y="27"/>
                          <a:pt x="734" y="43"/>
                          <a:pt x="734" y="43"/>
                        </a:cubicBezTo>
                        <a:cubicBezTo>
                          <a:pt x="734" y="43"/>
                          <a:pt x="709" y="40"/>
                          <a:pt x="706" y="40"/>
                        </a:cubicBezTo>
                        <a:cubicBezTo>
                          <a:pt x="704" y="40"/>
                          <a:pt x="682" y="57"/>
                          <a:pt x="681" y="65"/>
                        </a:cubicBezTo>
                        <a:cubicBezTo>
                          <a:pt x="680" y="73"/>
                          <a:pt x="718" y="79"/>
                          <a:pt x="722" y="79"/>
                        </a:cubicBezTo>
                        <a:cubicBezTo>
                          <a:pt x="727" y="79"/>
                          <a:pt x="725" y="71"/>
                          <a:pt x="736" y="67"/>
                        </a:cubicBezTo>
                        <a:cubicBezTo>
                          <a:pt x="746" y="64"/>
                          <a:pt x="768" y="83"/>
                          <a:pt x="776" y="88"/>
                        </a:cubicBezTo>
                        <a:cubicBezTo>
                          <a:pt x="783" y="93"/>
                          <a:pt x="776" y="114"/>
                          <a:pt x="765" y="126"/>
                        </a:cubicBezTo>
                        <a:cubicBezTo>
                          <a:pt x="754" y="138"/>
                          <a:pt x="738" y="156"/>
                          <a:pt x="723" y="162"/>
                        </a:cubicBezTo>
                        <a:cubicBezTo>
                          <a:pt x="708" y="168"/>
                          <a:pt x="694" y="157"/>
                          <a:pt x="686" y="153"/>
                        </a:cubicBezTo>
                        <a:cubicBezTo>
                          <a:pt x="679" y="149"/>
                          <a:pt x="622" y="151"/>
                          <a:pt x="613" y="151"/>
                        </a:cubicBezTo>
                        <a:cubicBezTo>
                          <a:pt x="604" y="152"/>
                          <a:pt x="592" y="159"/>
                          <a:pt x="576" y="167"/>
                        </a:cubicBezTo>
                        <a:cubicBezTo>
                          <a:pt x="561" y="176"/>
                          <a:pt x="561" y="189"/>
                          <a:pt x="558" y="192"/>
                        </a:cubicBezTo>
                        <a:cubicBezTo>
                          <a:pt x="556" y="195"/>
                          <a:pt x="550" y="197"/>
                          <a:pt x="547" y="197"/>
                        </a:cubicBezTo>
                        <a:cubicBezTo>
                          <a:pt x="544" y="197"/>
                          <a:pt x="532" y="228"/>
                          <a:pt x="514" y="239"/>
                        </a:cubicBezTo>
                        <a:cubicBezTo>
                          <a:pt x="508" y="244"/>
                          <a:pt x="497" y="245"/>
                          <a:pt x="486" y="246"/>
                        </a:cubicBezTo>
                        <a:cubicBezTo>
                          <a:pt x="492" y="253"/>
                          <a:pt x="502" y="260"/>
                          <a:pt x="504" y="262"/>
                        </a:cubicBezTo>
                        <a:cubicBezTo>
                          <a:pt x="506" y="265"/>
                          <a:pt x="509" y="277"/>
                          <a:pt x="509" y="282"/>
                        </a:cubicBezTo>
                        <a:cubicBezTo>
                          <a:pt x="509" y="288"/>
                          <a:pt x="523" y="288"/>
                          <a:pt x="528" y="288"/>
                        </a:cubicBezTo>
                        <a:cubicBezTo>
                          <a:pt x="534" y="288"/>
                          <a:pt x="541" y="297"/>
                          <a:pt x="548" y="307"/>
                        </a:cubicBezTo>
                        <a:cubicBezTo>
                          <a:pt x="555" y="317"/>
                          <a:pt x="575" y="336"/>
                          <a:pt x="575" y="336"/>
                        </a:cubicBezTo>
                        <a:cubicBezTo>
                          <a:pt x="575" y="336"/>
                          <a:pt x="575" y="372"/>
                          <a:pt x="577" y="382"/>
                        </a:cubicBezTo>
                        <a:cubicBezTo>
                          <a:pt x="579" y="391"/>
                          <a:pt x="602" y="415"/>
                          <a:pt x="605" y="421"/>
                        </a:cubicBezTo>
                        <a:cubicBezTo>
                          <a:pt x="608" y="428"/>
                          <a:pt x="612" y="446"/>
                          <a:pt x="612" y="454"/>
                        </a:cubicBezTo>
                        <a:cubicBezTo>
                          <a:pt x="612" y="461"/>
                          <a:pt x="626" y="465"/>
                          <a:pt x="642" y="477"/>
                        </a:cubicBezTo>
                        <a:cubicBezTo>
                          <a:pt x="657" y="489"/>
                          <a:pt x="647" y="510"/>
                          <a:pt x="647" y="510"/>
                        </a:cubicBezTo>
                        <a:cubicBezTo>
                          <a:pt x="647" y="510"/>
                          <a:pt x="643" y="524"/>
                          <a:pt x="642" y="527"/>
                        </a:cubicBezTo>
                        <a:cubicBezTo>
                          <a:pt x="642" y="530"/>
                          <a:pt x="578" y="528"/>
                          <a:pt x="578" y="528"/>
                        </a:cubicBezTo>
                        <a:cubicBezTo>
                          <a:pt x="551" y="551"/>
                          <a:pt x="551" y="551"/>
                          <a:pt x="551" y="551"/>
                        </a:cubicBezTo>
                        <a:cubicBezTo>
                          <a:pt x="551" y="551"/>
                          <a:pt x="539" y="578"/>
                          <a:pt x="535" y="591"/>
                        </a:cubicBezTo>
                        <a:cubicBezTo>
                          <a:pt x="531" y="603"/>
                          <a:pt x="528" y="593"/>
                          <a:pt x="526" y="597"/>
                        </a:cubicBezTo>
                        <a:cubicBezTo>
                          <a:pt x="523" y="600"/>
                          <a:pt x="521" y="602"/>
                          <a:pt x="510" y="615"/>
                        </a:cubicBezTo>
                        <a:cubicBezTo>
                          <a:pt x="498" y="629"/>
                          <a:pt x="485" y="624"/>
                          <a:pt x="474" y="632"/>
                        </a:cubicBezTo>
                        <a:cubicBezTo>
                          <a:pt x="463" y="641"/>
                          <a:pt x="468" y="647"/>
                          <a:pt x="465" y="655"/>
                        </a:cubicBezTo>
                        <a:cubicBezTo>
                          <a:pt x="461" y="663"/>
                          <a:pt x="454" y="660"/>
                          <a:pt x="447" y="662"/>
                        </a:cubicBezTo>
                        <a:cubicBezTo>
                          <a:pt x="441" y="664"/>
                          <a:pt x="433" y="688"/>
                          <a:pt x="437" y="694"/>
                        </a:cubicBezTo>
                        <a:cubicBezTo>
                          <a:pt x="440" y="700"/>
                          <a:pt x="448" y="722"/>
                          <a:pt x="449" y="744"/>
                        </a:cubicBezTo>
                        <a:cubicBezTo>
                          <a:pt x="449" y="766"/>
                          <a:pt x="451" y="784"/>
                          <a:pt x="446" y="792"/>
                        </a:cubicBezTo>
                        <a:cubicBezTo>
                          <a:pt x="441" y="800"/>
                          <a:pt x="410" y="780"/>
                          <a:pt x="397" y="775"/>
                        </a:cubicBezTo>
                        <a:cubicBezTo>
                          <a:pt x="383" y="771"/>
                          <a:pt x="371" y="798"/>
                          <a:pt x="366" y="799"/>
                        </a:cubicBezTo>
                        <a:cubicBezTo>
                          <a:pt x="361" y="799"/>
                          <a:pt x="345" y="814"/>
                          <a:pt x="330" y="830"/>
                        </a:cubicBezTo>
                        <a:cubicBezTo>
                          <a:pt x="314" y="846"/>
                          <a:pt x="314" y="846"/>
                          <a:pt x="302" y="849"/>
                        </a:cubicBezTo>
                        <a:cubicBezTo>
                          <a:pt x="291" y="851"/>
                          <a:pt x="286" y="838"/>
                          <a:pt x="275" y="833"/>
                        </a:cubicBezTo>
                        <a:cubicBezTo>
                          <a:pt x="265" y="827"/>
                          <a:pt x="255" y="817"/>
                          <a:pt x="255" y="817"/>
                        </a:cubicBezTo>
                        <a:cubicBezTo>
                          <a:pt x="255" y="817"/>
                          <a:pt x="252" y="808"/>
                          <a:pt x="245" y="792"/>
                        </a:cubicBezTo>
                        <a:cubicBezTo>
                          <a:pt x="238" y="776"/>
                          <a:pt x="214" y="783"/>
                          <a:pt x="212" y="783"/>
                        </a:cubicBezTo>
                        <a:cubicBezTo>
                          <a:pt x="210" y="782"/>
                          <a:pt x="207" y="797"/>
                          <a:pt x="207" y="797"/>
                        </a:cubicBezTo>
                        <a:cubicBezTo>
                          <a:pt x="207" y="797"/>
                          <a:pt x="197" y="780"/>
                          <a:pt x="172" y="777"/>
                        </a:cubicBezTo>
                        <a:cubicBezTo>
                          <a:pt x="148" y="773"/>
                          <a:pt x="137" y="790"/>
                          <a:pt x="139" y="801"/>
                        </a:cubicBezTo>
                        <a:cubicBezTo>
                          <a:pt x="141" y="811"/>
                          <a:pt x="146" y="820"/>
                          <a:pt x="142" y="833"/>
                        </a:cubicBezTo>
                        <a:cubicBezTo>
                          <a:pt x="139" y="845"/>
                          <a:pt x="133" y="905"/>
                          <a:pt x="120" y="919"/>
                        </a:cubicBezTo>
                        <a:cubicBezTo>
                          <a:pt x="108" y="932"/>
                          <a:pt x="100" y="933"/>
                          <a:pt x="93" y="938"/>
                        </a:cubicBezTo>
                        <a:cubicBezTo>
                          <a:pt x="86" y="943"/>
                          <a:pt x="106" y="972"/>
                          <a:pt x="107" y="976"/>
                        </a:cubicBezTo>
                        <a:cubicBezTo>
                          <a:pt x="109" y="980"/>
                          <a:pt x="107" y="985"/>
                          <a:pt x="101" y="992"/>
                        </a:cubicBezTo>
                        <a:cubicBezTo>
                          <a:pt x="95" y="1000"/>
                          <a:pt x="94" y="997"/>
                          <a:pt x="83" y="997"/>
                        </a:cubicBezTo>
                        <a:cubicBezTo>
                          <a:pt x="73" y="997"/>
                          <a:pt x="76" y="1021"/>
                          <a:pt x="68" y="1030"/>
                        </a:cubicBezTo>
                        <a:cubicBezTo>
                          <a:pt x="61" y="1038"/>
                          <a:pt x="53" y="1041"/>
                          <a:pt x="48" y="1055"/>
                        </a:cubicBezTo>
                        <a:cubicBezTo>
                          <a:pt x="46" y="1061"/>
                          <a:pt x="47" y="1065"/>
                          <a:pt x="49" y="1068"/>
                        </a:cubicBezTo>
                        <a:cubicBezTo>
                          <a:pt x="51" y="1072"/>
                          <a:pt x="55" y="1075"/>
                          <a:pt x="57" y="1076"/>
                        </a:cubicBezTo>
                        <a:cubicBezTo>
                          <a:pt x="59" y="1078"/>
                          <a:pt x="59" y="1123"/>
                          <a:pt x="59" y="1123"/>
                        </a:cubicBezTo>
                        <a:cubicBezTo>
                          <a:pt x="59" y="1123"/>
                          <a:pt x="70" y="1160"/>
                          <a:pt x="72" y="1165"/>
                        </a:cubicBezTo>
                        <a:cubicBezTo>
                          <a:pt x="75" y="1169"/>
                          <a:pt x="74" y="1223"/>
                          <a:pt x="73" y="1232"/>
                        </a:cubicBezTo>
                        <a:cubicBezTo>
                          <a:pt x="72" y="1241"/>
                          <a:pt x="84" y="1252"/>
                          <a:pt x="92" y="1262"/>
                        </a:cubicBezTo>
                        <a:cubicBezTo>
                          <a:pt x="99" y="1272"/>
                          <a:pt x="99" y="1279"/>
                          <a:pt x="99" y="1297"/>
                        </a:cubicBezTo>
                        <a:cubicBezTo>
                          <a:pt x="99" y="1315"/>
                          <a:pt x="115" y="1326"/>
                          <a:pt x="116" y="1328"/>
                        </a:cubicBezTo>
                        <a:cubicBezTo>
                          <a:pt x="116" y="1330"/>
                          <a:pt x="100" y="1346"/>
                          <a:pt x="100" y="1350"/>
                        </a:cubicBezTo>
                        <a:cubicBezTo>
                          <a:pt x="99" y="1354"/>
                          <a:pt x="56" y="1329"/>
                          <a:pt x="56" y="1329"/>
                        </a:cubicBezTo>
                        <a:cubicBezTo>
                          <a:pt x="56" y="1329"/>
                          <a:pt x="44" y="1339"/>
                          <a:pt x="34" y="1345"/>
                        </a:cubicBezTo>
                        <a:cubicBezTo>
                          <a:pt x="39" y="1351"/>
                          <a:pt x="45" y="1359"/>
                          <a:pt x="46" y="1365"/>
                        </a:cubicBezTo>
                        <a:cubicBezTo>
                          <a:pt x="48" y="1376"/>
                          <a:pt x="48" y="1392"/>
                          <a:pt x="48" y="1392"/>
                        </a:cubicBezTo>
                        <a:cubicBezTo>
                          <a:pt x="6" y="1393"/>
                          <a:pt x="6" y="1393"/>
                          <a:pt x="6" y="1393"/>
                        </a:cubicBezTo>
                        <a:cubicBezTo>
                          <a:pt x="6" y="1393"/>
                          <a:pt x="0" y="1403"/>
                          <a:pt x="9" y="1407"/>
                        </a:cubicBezTo>
                        <a:cubicBezTo>
                          <a:pt x="18" y="1412"/>
                          <a:pt x="37" y="1426"/>
                          <a:pt x="50" y="1426"/>
                        </a:cubicBezTo>
                        <a:cubicBezTo>
                          <a:pt x="63" y="1427"/>
                          <a:pt x="69" y="1425"/>
                          <a:pt x="78" y="1436"/>
                        </a:cubicBezTo>
                        <a:cubicBezTo>
                          <a:pt x="87" y="1447"/>
                          <a:pt x="98" y="1454"/>
                          <a:pt x="107" y="1454"/>
                        </a:cubicBezTo>
                        <a:cubicBezTo>
                          <a:pt x="115" y="1454"/>
                          <a:pt x="112" y="1458"/>
                          <a:pt x="126" y="1461"/>
                        </a:cubicBezTo>
                        <a:cubicBezTo>
                          <a:pt x="139" y="1464"/>
                          <a:pt x="210" y="1459"/>
                          <a:pt x="215" y="1463"/>
                        </a:cubicBezTo>
                        <a:cubicBezTo>
                          <a:pt x="220" y="1467"/>
                          <a:pt x="234" y="1490"/>
                          <a:pt x="234" y="1499"/>
                        </a:cubicBezTo>
                        <a:cubicBezTo>
                          <a:pt x="235" y="1508"/>
                          <a:pt x="234" y="1547"/>
                          <a:pt x="228" y="1556"/>
                        </a:cubicBezTo>
                        <a:cubicBezTo>
                          <a:pt x="222" y="1565"/>
                          <a:pt x="215" y="1562"/>
                          <a:pt x="220" y="1573"/>
                        </a:cubicBezTo>
                        <a:cubicBezTo>
                          <a:pt x="225" y="1583"/>
                          <a:pt x="225" y="1602"/>
                          <a:pt x="230" y="1607"/>
                        </a:cubicBezTo>
                        <a:cubicBezTo>
                          <a:pt x="236" y="1612"/>
                          <a:pt x="258" y="1657"/>
                          <a:pt x="275" y="1664"/>
                        </a:cubicBezTo>
                        <a:cubicBezTo>
                          <a:pt x="291" y="1672"/>
                          <a:pt x="278" y="1682"/>
                          <a:pt x="289" y="1690"/>
                        </a:cubicBezTo>
                        <a:cubicBezTo>
                          <a:pt x="300" y="1698"/>
                          <a:pt x="315" y="1691"/>
                          <a:pt x="325" y="1702"/>
                        </a:cubicBezTo>
                        <a:cubicBezTo>
                          <a:pt x="335" y="1713"/>
                          <a:pt x="340" y="1729"/>
                          <a:pt x="347" y="1730"/>
                        </a:cubicBezTo>
                        <a:cubicBezTo>
                          <a:pt x="354" y="1732"/>
                          <a:pt x="367" y="1728"/>
                          <a:pt x="367" y="1734"/>
                        </a:cubicBezTo>
                        <a:cubicBezTo>
                          <a:pt x="367" y="1739"/>
                          <a:pt x="377" y="1749"/>
                          <a:pt x="390" y="1768"/>
                        </a:cubicBezTo>
                        <a:cubicBezTo>
                          <a:pt x="404" y="1787"/>
                          <a:pt x="416" y="1800"/>
                          <a:pt x="417" y="1804"/>
                        </a:cubicBezTo>
                        <a:cubicBezTo>
                          <a:pt x="417" y="1805"/>
                          <a:pt x="421" y="1813"/>
                          <a:pt x="427" y="1823"/>
                        </a:cubicBezTo>
                        <a:cubicBezTo>
                          <a:pt x="432" y="1820"/>
                          <a:pt x="456" y="1846"/>
                          <a:pt x="465" y="1852"/>
                        </a:cubicBezTo>
                        <a:cubicBezTo>
                          <a:pt x="474" y="1859"/>
                          <a:pt x="468" y="1859"/>
                          <a:pt x="468" y="1865"/>
                        </a:cubicBezTo>
                        <a:cubicBezTo>
                          <a:pt x="468" y="1871"/>
                          <a:pt x="486" y="1874"/>
                          <a:pt x="494" y="1888"/>
                        </a:cubicBezTo>
                        <a:cubicBezTo>
                          <a:pt x="502" y="1902"/>
                          <a:pt x="510" y="1885"/>
                          <a:pt x="520" y="1880"/>
                        </a:cubicBezTo>
                        <a:cubicBezTo>
                          <a:pt x="530" y="1875"/>
                          <a:pt x="526" y="1899"/>
                          <a:pt x="526" y="1899"/>
                        </a:cubicBezTo>
                        <a:cubicBezTo>
                          <a:pt x="526" y="1899"/>
                          <a:pt x="511" y="1910"/>
                          <a:pt x="511" y="1917"/>
                        </a:cubicBezTo>
                        <a:cubicBezTo>
                          <a:pt x="511" y="1924"/>
                          <a:pt x="527" y="1929"/>
                          <a:pt x="542" y="1928"/>
                        </a:cubicBezTo>
                        <a:cubicBezTo>
                          <a:pt x="557" y="1927"/>
                          <a:pt x="562" y="1904"/>
                          <a:pt x="562" y="1904"/>
                        </a:cubicBezTo>
                        <a:cubicBezTo>
                          <a:pt x="586" y="1927"/>
                          <a:pt x="586" y="1927"/>
                          <a:pt x="586" y="1927"/>
                        </a:cubicBezTo>
                        <a:cubicBezTo>
                          <a:pt x="570" y="1950"/>
                          <a:pt x="570" y="1950"/>
                          <a:pt x="570" y="1950"/>
                        </a:cubicBezTo>
                        <a:cubicBezTo>
                          <a:pt x="570" y="1950"/>
                          <a:pt x="594" y="1970"/>
                          <a:pt x="610" y="1970"/>
                        </a:cubicBezTo>
                        <a:cubicBezTo>
                          <a:pt x="626" y="1970"/>
                          <a:pt x="614" y="1953"/>
                          <a:pt x="614" y="1953"/>
                        </a:cubicBezTo>
                        <a:cubicBezTo>
                          <a:pt x="630" y="1953"/>
                          <a:pt x="630" y="1953"/>
                          <a:pt x="630" y="1953"/>
                        </a:cubicBezTo>
                        <a:cubicBezTo>
                          <a:pt x="630" y="1953"/>
                          <a:pt x="635" y="1894"/>
                          <a:pt x="643" y="1880"/>
                        </a:cubicBezTo>
                        <a:cubicBezTo>
                          <a:pt x="651" y="1866"/>
                          <a:pt x="665" y="1855"/>
                          <a:pt x="665" y="1855"/>
                        </a:cubicBezTo>
                        <a:cubicBezTo>
                          <a:pt x="665" y="1855"/>
                          <a:pt x="665" y="1855"/>
                          <a:pt x="670" y="1864"/>
                        </a:cubicBezTo>
                        <a:cubicBezTo>
                          <a:pt x="675" y="1873"/>
                          <a:pt x="723" y="1856"/>
                          <a:pt x="725" y="1844"/>
                        </a:cubicBezTo>
                        <a:cubicBezTo>
                          <a:pt x="727" y="1832"/>
                          <a:pt x="702" y="1817"/>
                          <a:pt x="702" y="1803"/>
                        </a:cubicBezTo>
                        <a:cubicBezTo>
                          <a:pt x="702" y="1789"/>
                          <a:pt x="717" y="1778"/>
                          <a:pt x="717" y="1778"/>
                        </a:cubicBezTo>
                        <a:cubicBezTo>
                          <a:pt x="745" y="1783"/>
                          <a:pt x="745" y="1783"/>
                          <a:pt x="745" y="1783"/>
                        </a:cubicBezTo>
                        <a:cubicBezTo>
                          <a:pt x="744" y="1756"/>
                          <a:pt x="744" y="1756"/>
                          <a:pt x="744" y="1756"/>
                        </a:cubicBezTo>
                        <a:cubicBezTo>
                          <a:pt x="744" y="1756"/>
                          <a:pt x="740" y="1743"/>
                          <a:pt x="756" y="1736"/>
                        </a:cubicBezTo>
                        <a:cubicBezTo>
                          <a:pt x="772" y="1729"/>
                          <a:pt x="764" y="1705"/>
                          <a:pt x="764" y="1705"/>
                        </a:cubicBezTo>
                        <a:cubicBezTo>
                          <a:pt x="782" y="1698"/>
                          <a:pt x="782" y="1698"/>
                          <a:pt x="782" y="1698"/>
                        </a:cubicBezTo>
                        <a:cubicBezTo>
                          <a:pt x="782" y="1698"/>
                          <a:pt x="786" y="1674"/>
                          <a:pt x="800" y="1655"/>
                        </a:cubicBezTo>
                        <a:cubicBezTo>
                          <a:pt x="814" y="1636"/>
                          <a:pt x="832" y="1593"/>
                          <a:pt x="832" y="1593"/>
                        </a:cubicBezTo>
                        <a:cubicBezTo>
                          <a:pt x="853" y="1589"/>
                          <a:pt x="853" y="1589"/>
                          <a:pt x="853" y="1589"/>
                        </a:cubicBezTo>
                        <a:cubicBezTo>
                          <a:pt x="853" y="1589"/>
                          <a:pt x="855" y="1582"/>
                          <a:pt x="855" y="1568"/>
                        </a:cubicBezTo>
                        <a:cubicBezTo>
                          <a:pt x="855" y="1554"/>
                          <a:pt x="892" y="1537"/>
                          <a:pt x="892" y="1537"/>
                        </a:cubicBezTo>
                        <a:cubicBezTo>
                          <a:pt x="892" y="1537"/>
                          <a:pt x="887" y="1485"/>
                          <a:pt x="889" y="1448"/>
                        </a:cubicBezTo>
                        <a:cubicBezTo>
                          <a:pt x="891" y="1411"/>
                          <a:pt x="915" y="1344"/>
                          <a:pt x="915" y="1344"/>
                        </a:cubicBezTo>
                        <a:cubicBezTo>
                          <a:pt x="919" y="1309"/>
                          <a:pt x="919" y="1309"/>
                          <a:pt x="919" y="1309"/>
                        </a:cubicBezTo>
                        <a:cubicBezTo>
                          <a:pt x="896" y="1296"/>
                          <a:pt x="896" y="1296"/>
                          <a:pt x="896" y="1296"/>
                        </a:cubicBezTo>
                        <a:cubicBezTo>
                          <a:pt x="934" y="1275"/>
                          <a:pt x="934" y="1275"/>
                          <a:pt x="934" y="1275"/>
                        </a:cubicBezTo>
                        <a:cubicBezTo>
                          <a:pt x="934" y="1275"/>
                          <a:pt x="934" y="1262"/>
                          <a:pt x="933" y="1236"/>
                        </a:cubicBezTo>
                        <a:cubicBezTo>
                          <a:pt x="932" y="1210"/>
                          <a:pt x="964" y="1198"/>
                          <a:pt x="968" y="1195"/>
                        </a:cubicBezTo>
                        <a:cubicBezTo>
                          <a:pt x="972" y="1192"/>
                          <a:pt x="971" y="1166"/>
                          <a:pt x="970" y="1156"/>
                        </a:cubicBezTo>
                        <a:cubicBezTo>
                          <a:pt x="969" y="1146"/>
                          <a:pt x="923" y="1110"/>
                          <a:pt x="923" y="1107"/>
                        </a:cubicBezTo>
                        <a:cubicBezTo>
                          <a:pt x="923" y="1104"/>
                          <a:pt x="924" y="1098"/>
                          <a:pt x="924" y="1098"/>
                        </a:cubicBezTo>
                        <a:cubicBezTo>
                          <a:pt x="924" y="1098"/>
                          <a:pt x="912" y="1087"/>
                          <a:pt x="907" y="1087"/>
                        </a:cubicBezTo>
                        <a:cubicBezTo>
                          <a:pt x="902" y="1087"/>
                          <a:pt x="889" y="1054"/>
                          <a:pt x="889" y="1054"/>
                        </a:cubicBezTo>
                        <a:cubicBezTo>
                          <a:pt x="906" y="1053"/>
                          <a:pt x="906" y="1053"/>
                          <a:pt x="906" y="1053"/>
                        </a:cubicBezTo>
                        <a:cubicBezTo>
                          <a:pt x="906" y="1053"/>
                          <a:pt x="916" y="1021"/>
                          <a:pt x="928" y="1002"/>
                        </a:cubicBezTo>
                        <a:cubicBezTo>
                          <a:pt x="940" y="983"/>
                          <a:pt x="930" y="972"/>
                          <a:pt x="930" y="972"/>
                        </a:cubicBezTo>
                        <a:cubicBezTo>
                          <a:pt x="914" y="962"/>
                          <a:pt x="914" y="962"/>
                          <a:pt x="914" y="962"/>
                        </a:cubicBezTo>
                        <a:cubicBezTo>
                          <a:pt x="922" y="941"/>
                          <a:pt x="922" y="941"/>
                          <a:pt x="922" y="941"/>
                        </a:cubicBezTo>
                        <a:cubicBezTo>
                          <a:pt x="922" y="941"/>
                          <a:pt x="951" y="928"/>
                          <a:pt x="956" y="923"/>
                        </a:cubicBezTo>
                        <a:cubicBezTo>
                          <a:pt x="961" y="918"/>
                          <a:pt x="957" y="912"/>
                          <a:pt x="960" y="897"/>
                        </a:cubicBezTo>
                        <a:cubicBezTo>
                          <a:pt x="963" y="882"/>
                          <a:pt x="998" y="878"/>
                          <a:pt x="1026" y="855"/>
                        </a:cubicBezTo>
                        <a:cubicBezTo>
                          <a:pt x="1054" y="832"/>
                          <a:pt x="1069" y="811"/>
                          <a:pt x="1069" y="811"/>
                        </a:cubicBezTo>
                        <a:cubicBezTo>
                          <a:pt x="1096" y="802"/>
                          <a:pt x="1096" y="802"/>
                          <a:pt x="1096" y="802"/>
                        </a:cubicBezTo>
                        <a:cubicBezTo>
                          <a:pt x="1186" y="718"/>
                          <a:pt x="1186" y="718"/>
                          <a:pt x="1186" y="718"/>
                        </a:cubicBezTo>
                        <a:cubicBezTo>
                          <a:pt x="1186" y="718"/>
                          <a:pt x="1190" y="698"/>
                          <a:pt x="1197" y="685"/>
                        </a:cubicBezTo>
                        <a:cubicBezTo>
                          <a:pt x="1204" y="672"/>
                          <a:pt x="1290" y="625"/>
                          <a:pt x="1290" y="625"/>
                        </a:cubicBezTo>
                        <a:cubicBezTo>
                          <a:pt x="1290" y="625"/>
                          <a:pt x="1296" y="615"/>
                          <a:pt x="1302" y="593"/>
                        </a:cubicBezTo>
                        <a:cubicBezTo>
                          <a:pt x="1308" y="571"/>
                          <a:pt x="1323" y="576"/>
                          <a:pt x="1324" y="559"/>
                        </a:cubicBezTo>
                        <a:cubicBezTo>
                          <a:pt x="1325" y="542"/>
                          <a:pt x="1352" y="529"/>
                          <a:pt x="1352" y="529"/>
                        </a:cubicBezTo>
                        <a:cubicBezTo>
                          <a:pt x="1365" y="470"/>
                          <a:pt x="1365" y="470"/>
                          <a:pt x="1365" y="470"/>
                        </a:cubicBezTo>
                        <a:cubicBezTo>
                          <a:pt x="1365" y="470"/>
                          <a:pt x="1393" y="506"/>
                          <a:pt x="1425" y="516"/>
                        </a:cubicBezTo>
                        <a:cubicBezTo>
                          <a:pt x="1457" y="526"/>
                          <a:pt x="1466" y="396"/>
                          <a:pt x="1466" y="396"/>
                        </a:cubicBezTo>
                        <a:cubicBezTo>
                          <a:pt x="1466" y="396"/>
                          <a:pt x="1482" y="396"/>
                          <a:pt x="1501" y="394"/>
                        </a:cubicBezTo>
                        <a:cubicBezTo>
                          <a:pt x="1502" y="373"/>
                          <a:pt x="1504" y="350"/>
                          <a:pt x="1506" y="345"/>
                        </a:cubicBezTo>
                        <a:cubicBezTo>
                          <a:pt x="1508" y="336"/>
                          <a:pt x="1459" y="318"/>
                          <a:pt x="1450" y="307"/>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519">
                    <a:extLst>
                      <a:ext uri="{FF2B5EF4-FFF2-40B4-BE49-F238E27FC236}">
                        <a16:creationId xmlns:a16="http://schemas.microsoft.com/office/drawing/2014/main" id="{55C9ED0F-4661-123B-F9CB-023BB7D28A84}"/>
                      </a:ext>
                    </a:extLst>
                  </p:cNvPr>
                  <p:cNvSpPr>
                    <a:spLocks noChangeAspect="1"/>
                  </p:cNvSpPr>
                  <p:nvPr/>
                </p:nvSpPr>
                <p:spPr bwMode="auto">
                  <a:xfrm>
                    <a:off x="4847226" y="4319577"/>
                    <a:ext cx="371362" cy="395018"/>
                  </a:xfrm>
                  <a:custGeom>
                    <a:avLst/>
                    <a:gdLst>
                      <a:gd name="T0" fmla="*/ 934 w 945"/>
                      <a:gd name="T1" fmla="*/ 87 h 1011"/>
                      <a:gd name="T2" fmla="*/ 885 w 945"/>
                      <a:gd name="T3" fmla="*/ 134 h 1011"/>
                      <a:gd name="T4" fmla="*/ 825 w 945"/>
                      <a:gd name="T5" fmla="*/ 196 h 1011"/>
                      <a:gd name="T6" fmla="*/ 805 w 945"/>
                      <a:gd name="T7" fmla="*/ 243 h 1011"/>
                      <a:gd name="T8" fmla="*/ 822 w 945"/>
                      <a:gd name="T9" fmla="*/ 288 h 1011"/>
                      <a:gd name="T10" fmla="*/ 813 w 945"/>
                      <a:gd name="T11" fmla="*/ 351 h 1011"/>
                      <a:gd name="T12" fmla="*/ 831 w 945"/>
                      <a:gd name="T13" fmla="*/ 549 h 1011"/>
                      <a:gd name="T14" fmla="*/ 852 w 945"/>
                      <a:gd name="T15" fmla="*/ 622 h 1011"/>
                      <a:gd name="T16" fmla="*/ 835 w 945"/>
                      <a:gd name="T17" fmla="*/ 643 h 1011"/>
                      <a:gd name="T18" fmla="*/ 732 w 945"/>
                      <a:gd name="T19" fmla="*/ 730 h 1011"/>
                      <a:gd name="T20" fmla="*/ 697 w 945"/>
                      <a:gd name="T21" fmla="*/ 783 h 1011"/>
                      <a:gd name="T22" fmla="*/ 645 w 945"/>
                      <a:gd name="T23" fmla="*/ 793 h 1011"/>
                      <a:gd name="T24" fmla="*/ 586 w 945"/>
                      <a:gd name="T25" fmla="*/ 846 h 1011"/>
                      <a:gd name="T26" fmla="*/ 515 w 945"/>
                      <a:gd name="T27" fmla="*/ 927 h 1011"/>
                      <a:gd name="T28" fmla="*/ 404 w 945"/>
                      <a:gd name="T29" fmla="*/ 991 h 1011"/>
                      <a:gd name="T30" fmla="*/ 296 w 945"/>
                      <a:gd name="T31" fmla="*/ 981 h 1011"/>
                      <a:gd name="T32" fmla="*/ 263 w 945"/>
                      <a:gd name="T33" fmla="*/ 923 h 1011"/>
                      <a:gd name="T34" fmla="*/ 232 w 945"/>
                      <a:gd name="T35" fmla="*/ 934 h 1011"/>
                      <a:gd name="T36" fmla="*/ 146 w 945"/>
                      <a:gd name="T37" fmla="*/ 929 h 1011"/>
                      <a:gd name="T38" fmla="*/ 126 w 945"/>
                      <a:gd name="T39" fmla="*/ 873 h 1011"/>
                      <a:gd name="T40" fmla="*/ 140 w 945"/>
                      <a:gd name="T41" fmla="*/ 828 h 1011"/>
                      <a:gd name="T42" fmla="*/ 97 w 945"/>
                      <a:gd name="T43" fmla="*/ 684 h 1011"/>
                      <a:gd name="T44" fmla="*/ 86 w 945"/>
                      <a:gd name="T45" fmla="*/ 644 h 1011"/>
                      <a:gd name="T46" fmla="*/ 110 w 945"/>
                      <a:gd name="T47" fmla="*/ 540 h 1011"/>
                      <a:gd name="T48" fmla="*/ 90 w 945"/>
                      <a:gd name="T49" fmla="*/ 495 h 1011"/>
                      <a:gd name="T50" fmla="*/ 64 w 945"/>
                      <a:gd name="T51" fmla="*/ 457 h 1011"/>
                      <a:gd name="T52" fmla="*/ 37 w 945"/>
                      <a:gd name="T53" fmla="*/ 416 h 1011"/>
                      <a:gd name="T54" fmla="*/ 26 w 945"/>
                      <a:gd name="T55" fmla="*/ 333 h 1011"/>
                      <a:gd name="T56" fmla="*/ 41 w 945"/>
                      <a:gd name="T57" fmla="*/ 205 h 1011"/>
                      <a:gd name="T58" fmla="*/ 103 w 945"/>
                      <a:gd name="T59" fmla="*/ 228 h 1011"/>
                      <a:gd name="T60" fmla="*/ 166 w 945"/>
                      <a:gd name="T61" fmla="*/ 195 h 1011"/>
                      <a:gd name="T62" fmla="*/ 178 w 945"/>
                      <a:gd name="T63" fmla="*/ 158 h 1011"/>
                      <a:gd name="T64" fmla="*/ 196 w 945"/>
                      <a:gd name="T65" fmla="*/ 137 h 1011"/>
                      <a:gd name="T66" fmla="*/ 252 w 945"/>
                      <a:gd name="T67" fmla="*/ 146 h 1011"/>
                      <a:gd name="T68" fmla="*/ 296 w 945"/>
                      <a:gd name="T69" fmla="*/ 185 h 1011"/>
                      <a:gd name="T70" fmla="*/ 315 w 945"/>
                      <a:gd name="T71" fmla="*/ 221 h 1011"/>
                      <a:gd name="T72" fmla="*/ 347 w 945"/>
                      <a:gd name="T73" fmla="*/ 189 h 1011"/>
                      <a:gd name="T74" fmla="*/ 362 w 945"/>
                      <a:gd name="T75" fmla="*/ 193 h 1011"/>
                      <a:gd name="T76" fmla="*/ 374 w 945"/>
                      <a:gd name="T77" fmla="*/ 169 h 1011"/>
                      <a:gd name="T78" fmla="*/ 388 w 945"/>
                      <a:gd name="T79" fmla="*/ 147 h 1011"/>
                      <a:gd name="T80" fmla="*/ 432 w 945"/>
                      <a:gd name="T81" fmla="*/ 136 h 1011"/>
                      <a:gd name="T82" fmla="*/ 446 w 945"/>
                      <a:gd name="T83" fmla="*/ 130 h 1011"/>
                      <a:gd name="T84" fmla="*/ 478 w 945"/>
                      <a:gd name="T85" fmla="*/ 64 h 1011"/>
                      <a:gd name="T86" fmla="*/ 581 w 945"/>
                      <a:gd name="T87" fmla="*/ 35 h 1011"/>
                      <a:gd name="T88" fmla="*/ 602 w 945"/>
                      <a:gd name="T89" fmla="*/ 33 h 1011"/>
                      <a:gd name="T90" fmla="*/ 708 w 945"/>
                      <a:gd name="T91" fmla="*/ 17 h 1011"/>
                      <a:gd name="T92" fmla="*/ 759 w 945"/>
                      <a:gd name="T93" fmla="*/ 27 h 1011"/>
                      <a:gd name="T94" fmla="*/ 843 w 945"/>
                      <a:gd name="T95" fmla="*/ 3 h 1011"/>
                      <a:gd name="T96" fmla="*/ 912 w 945"/>
                      <a:gd name="T97" fmla="*/ 54 h 1011"/>
                      <a:gd name="T98" fmla="*/ 943 w 945"/>
                      <a:gd name="T99" fmla="*/ 44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45" h="1011">
                        <a:moveTo>
                          <a:pt x="944" y="61"/>
                        </a:moveTo>
                        <a:cubicBezTo>
                          <a:pt x="943" y="68"/>
                          <a:pt x="938" y="75"/>
                          <a:pt x="934" y="87"/>
                        </a:cubicBezTo>
                        <a:cubicBezTo>
                          <a:pt x="930" y="99"/>
                          <a:pt x="920" y="113"/>
                          <a:pt x="913" y="116"/>
                        </a:cubicBezTo>
                        <a:cubicBezTo>
                          <a:pt x="906" y="119"/>
                          <a:pt x="894" y="130"/>
                          <a:pt x="885" y="134"/>
                        </a:cubicBezTo>
                        <a:cubicBezTo>
                          <a:pt x="876" y="138"/>
                          <a:pt x="858" y="158"/>
                          <a:pt x="850" y="164"/>
                        </a:cubicBezTo>
                        <a:cubicBezTo>
                          <a:pt x="843" y="170"/>
                          <a:pt x="832" y="190"/>
                          <a:pt x="825" y="196"/>
                        </a:cubicBezTo>
                        <a:cubicBezTo>
                          <a:pt x="817" y="203"/>
                          <a:pt x="817" y="219"/>
                          <a:pt x="817" y="223"/>
                        </a:cubicBezTo>
                        <a:cubicBezTo>
                          <a:pt x="817" y="226"/>
                          <a:pt x="805" y="243"/>
                          <a:pt x="805" y="243"/>
                        </a:cubicBezTo>
                        <a:cubicBezTo>
                          <a:pt x="805" y="243"/>
                          <a:pt x="811" y="254"/>
                          <a:pt x="811" y="267"/>
                        </a:cubicBezTo>
                        <a:cubicBezTo>
                          <a:pt x="811" y="280"/>
                          <a:pt x="822" y="288"/>
                          <a:pt x="822" y="288"/>
                        </a:cubicBezTo>
                        <a:cubicBezTo>
                          <a:pt x="822" y="288"/>
                          <a:pt x="825" y="343"/>
                          <a:pt x="822" y="349"/>
                        </a:cubicBezTo>
                        <a:cubicBezTo>
                          <a:pt x="819" y="354"/>
                          <a:pt x="817" y="351"/>
                          <a:pt x="813" y="351"/>
                        </a:cubicBezTo>
                        <a:cubicBezTo>
                          <a:pt x="810" y="352"/>
                          <a:pt x="824" y="535"/>
                          <a:pt x="824" y="535"/>
                        </a:cubicBezTo>
                        <a:cubicBezTo>
                          <a:pt x="831" y="549"/>
                          <a:pt x="831" y="549"/>
                          <a:pt x="831" y="549"/>
                        </a:cubicBezTo>
                        <a:cubicBezTo>
                          <a:pt x="831" y="549"/>
                          <a:pt x="832" y="570"/>
                          <a:pt x="831" y="588"/>
                        </a:cubicBezTo>
                        <a:cubicBezTo>
                          <a:pt x="830" y="603"/>
                          <a:pt x="847" y="618"/>
                          <a:pt x="852" y="622"/>
                        </a:cubicBezTo>
                        <a:cubicBezTo>
                          <a:pt x="853" y="623"/>
                          <a:pt x="853" y="623"/>
                          <a:pt x="853" y="623"/>
                        </a:cubicBezTo>
                        <a:cubicBezTo>
                          <a:pt x="853" y="623"/>
                          <a:pt x="846" y="636"/>
                          <a:pt x="835" y="643"/>
                        </a:cubicBezTo>
                        <a:cubicBezTo>
                          <a:pt x="824" y="649"/>
                          <a:pt x="748" y="647"/>
                          <a:pt x="739" y="653"/>
                        </a:cubicBezTo>
                        <a:cubicBezTo>
                          <a:pt x="730" y="658"/>
                          <a:pt x="732" y="725"/>
                          <a:pt x="732" y="730"/>
                        </a:cubicBezTo>
                        <a:cubicBezTo>
                          <a:pt x="732" y="734"/>
                          <a:pt x="736" y="751"/>
                          <a:pt x="734" y="765"/>
                        </a:cubicBezTo>
                        <a:cubicBezTo>
                          <a:pt x="731" y="779"/>
                          <a:pt x="701" y="783"/>
                          <a:pt x="697" y="783"/>
                        </a:cubicBezTo>
                        <a:cubicBezTo>
                          <a:pt x="693" y="784"/>
                          <a:pt x="668" y="784"/>
                          <a:pt x="662" y="784"/>
                        </a:cubicBezTo>
                        <a:cubicBezTo>
                          <a:pt x="656" y="785"/>
                          <a:pt x="652" y="793"/>
                          <a:pt x="645" y="793"/>
                        </a:cubicBezTo>
                        <a:cubicBezTo>
                          <a:pt x="639" y="794"/>
                          <a:pt x="632" y="809"/>
                          <a:pt x="628" y="813"/>
                        </a:cubicBezTo>
                        <a:cubicBezTo>
                          <a:pt x="624" y="817"/>
                          <a:pt x="604" y="828"/>
                          <a:pt x="586" y="846"/>
                        </a:cubicBezTo>
                        <a:cubicBezTo>
                          <a:pt x="567" y="865"/>
                          <a:pt x="532" y="898"/>
                          <a:pt x="532" y="898"/>
                        </a:cubicBezTo>
                        <a:cubicBezTo>
                          <a:pt x="532" y="898"/>
                          <a:pt x="526" y="914"/>
                          <a:pt x="515" y="927"/>
                        </a:cubicBezTo>
                        <a:cubicBezTo>
                          <a:pt x="505" y="939"/>
                          <a:pt x="492" y="973"/>
                          <a:pt x="490" y="980"/>
                        </a:cubicBezTo>
                        <a:cubicBezTo>
                          <a:pt x="459" y="984"/>
                          <a:pt x="409" y="991"/>
                          <a:pt x="404" y="991"/>
                        </a:cubicBezTo>
                        <a:cubicBezTo>
                          <a:pt x="397" y="991"/>
                          <a:pt x="377" y="1001"/>
                          <a:pt x="355" y="1006"/>
                        </a:cubicBezTo>
                        <a:cubicBezTo>
                          <a:pt x="333" y="1011"/>
                          <a:pt x="304" y="984"/>
                          <a:pt x="296" y="981"/>
                        </a:cubicBezTo>
                        <a:cubicBezTo>
                          <a:pt x="289" y="979"/>
                          <a:pt x="287" y="957"/>
                          <a:pt x="281" y="940"/>
                        </a:cubicBezTo>
                        <a:cubicBezTo>
                          <a:pt x="276" y="922"/>
                          <a:pt x="268" y="929"/>
                          <a:pt x="263" y="923"/>
                        </a:cubicBezTo>
                        <a:cubicBezTo>
                          <a:pt x="258" y="918"/>
                          <a:pt x="254" y="913"/>
                          <a:pt x="246" y="913"/>
                        </a:cubicBezTo>
                        <a:cubicBezTo>
                          <a:pt x="237" y="913"/>
                          <a:pt x="241" y="923"/>
                          <a:pt x="232" y="934"/>
                        </a:cubicBezTo>
                        <a:cubicBezTo>
                          <a:pt x="223" y="945"/>
                          <a:pt x="205" y="948"/>
                          <a:pt x="188" y="956"/>
                        </a:cubicBezTo>
                        <a:cubicBezTo>
                          <a:pt x="170" y="964"/>
                          <a:pt x="147" y="931"/>
                          <a:pt x="146" y="929"/>
                        </a:cubicBezTo>
                        <a:cubicBezTo>
                          <a:pt x="144" y="928"/>
                          <a:pt x="141" y="892"/>
                          <a:pt x="141" y="891"/>
                        </a:cubicBezTo>
                        <a:cubicBezTo>
                          <a:pt x="141" y="889"/>
                          <a:pt x="126" y="873"/>
                          <a:pt x="126" y="873"/>
                        </a:cubicBezTo>
                        <a:cubicBezTo>
                          <a:pt x="126" y="873"/>
                          <a:pt x="124" y="870"/>
                          <a:pt x="121" y="865"/>
                        </a:cubicBezTo>
                        <a:cubicBezTo>
                          <a:pt x="130" y="853"/>
                          <a:pt x="140" y="836"/>
                          <a:pt x="140" y="828"/>
                        </a:cubicBezTo>
                        <a:cubicBezTo>
                          <a:pt x="140" y="815"/>
                          <a:pt x="96" y="742"/>
                          <a:pt x="97" y="735"/>
                        </a:cubicBezTo>
                        <a:cubicBezTo>
                          <a:pt x="97" y="728"/>
                          <a:pt x="97" y="686"/>
                          <a:pt x="97" y="684"/>
                        </a:cubicBezTo>
                        <a:cubicBezTo>
                          <a:pt x="97" y="683"/>
                          <a:pt x="109" y="670"/>
                          <a:pt x="109" y="670"/>
                        </a:cubicBezTo>
                        <a:cubicBezTo>
                          <a:pt x="109" y="670"/>
                          <a:pt x="81" y="652"/>
                          <a:pt x="86" y="644"/>
                        </a:cubicBezTo>
                        <a:cubicBezTo>
                          <a:pt x="90" y="635"/>
                          <a:pt x="92" y="607"/>
                          <a:pt x="101" y="598"/>
                        </a:cubicBezTo>
                        <a:cubicBezTo>
                          <a:pt x="110" y="588"/>
                          <a:pt x="110" y="540"/>
                          <a:pt x="110" y="540"/>
                        </a:cubicBezTo>
                        <a:cubicBezTo>
                          <a:pt x="110" y="540"/>
                          <a:pt x="117" y="525"/>
                          <a:pt x="113" y="518"/>
                        </a:cubicBezTo>
                        <a:cubicBezTo>
                          <a:pt x="109" y="512"/>
                          <a:pt x="90" y="502"/>
                          <a:pt x="90" y="495"/>
                        </a:cubicBezTo>
                        <a:cubicBezTo>
                          <a:pt x="90" y="488"/>
                          <a:pt x="89" y="471"/>
                          <a:pt x="81" y="468"/>
                        </a:cubicBezTo>
                        <a:cubicBezTo>
                          <a:pt x="73" y="465"/>
                          <a:pt x="67" y="466"/>
                          <a:pt x="64" y="457"/>
                        </a:cubicBezTo>
                        <a:cubicBezTo>
                          <a:pt x="60" y="448"/>
                          <a:pt x="49" y="442"/>
                          <a:pt x="44" y="434"/>
                        </a:cubicBezTo>
                        <a:cubicBezTo>
                          <a:pt x="40" y="426"/>
                          <a:pt x="42" y="421"/>
                          <a:pt x="37" y="416"/>
                        </a:cubicBezTo>
                        <a:cubicBezTo>
                          <a:pt x="31" y="410"/>
                          <a:pt x="1" y="404"/>
                          <a:pt x="0" y="388"/>
                        </a:cubicBezTo>
                        <a:cubicBezTo>
                          <a:pt x="0" y="371"/>
                          <a:pt x="26" y="333"/>
                          <a:pt x="26" y="333"/>
                        </a:cubicBezTo>
                        <a:cubicBezTo>
                          <a:pt x="26" y="333"/>
                          <a:pt x="27" y="252"/>
                          <a:pt x="33" y="242"/>
                        </a:cubicBezTo>
                        <a:cubicBezTo>
                          <a:pt x="38" y="232"/>
                          <a:pt x="41" y="205"/>
                          <a:pt x="41" y="205"/>
                        </a:cubicBezTo>
                        <a:cubicBezTo>
                          <a:pt x="59" y="205"/>
                          <a:pt x="59" y="205"/>
                          <a:pt x="59" y="205"/>
                        </a:cubicBezTo>
                        <a:cubicBezTo>
                          <a:pt x="59" y="205"/>
                          <a:pt x="79" y="231"/>
                          <a:pt x="103" y="228"/>
                        </a:cubicBezTo>
                        <a:cubicBezTo>
                          <a:pt x="128" y="224"/>
                          <a:pt x="144" y="226"/>
                          <a:pt x="152" y="220"/>
                        </a:cubicBezTo>
                        <a:cubicBezTo>
                          <a:pt x="161" y="214"/>
                          <a:pt x="166" y="195"/>
                          <a:pt x="166" y="195"/>
                        </a:cubicBezTo>
                        <a:cubicBezTo>
                          <a:pt x="166" y="195"/>
                          <a:pt x="153" y="188"/>
                          <a:pt x="156" y="181"/>
                        </a:cubicBezTo>
                        <a:cubicBezTo>
                          <a:pt x="159" y="173"/>
                          <a:pt x="175" y="158"/>
                          <a:pt x="178" y="158"/>
                        </a:cubicBezTo>
                        <a:cubicBezTo>
                          <a:pt x="181" y="158"/>
                          <a:pt x="193" y="160"/>
                          <a:pt x="193" y="156"/>
                        </a:cubicBezTo>
                        <a:cubicBezTo>
                          <a:pt x="193" y="152"/>
                          <a:pt x="191" y="139"/>
                          <a:pt x="196" y="137"/>
                        </a:cubicBezTo>
                        <a:cubicBezTo>
                          <a:pt x="202" y="135"/>
                          <a:pt x="211" y="128"/>
                          <a:pt x="227" y="129"/>
                        </a:cubicBezTo>
                        <a:cubicBezTo>
                          <a:pt x="243" y="130"/>
                          <a:pt x="244" y="145"/>
                          <a:pt x="252" y="146"/>
                        </a:cubicBezTo>
                        <a:cubicBezTo>
                          <a:pt x="259" y="147"/>
                          <a:pt x="279" y="147"/>
                          <a:pt x="285" y="159"/>
                        </a:cubicBezTo>
                        <a:cubicBezTo>
                          <a:pt x="291" y="170"/>
                          <a:pt x="295" y="183"/>
                          <a:pt x="296" y="185"/>
                        </a:cubicBezTo>
                        <a:cubicBezTo>
                          <a:pt x="298" y="186"/>
                          <a:pt x="307" y="194"/>
                          <a:pt x="307" y="194"/>
                        </a:cubicBezTo>
                        <a:cubicBezTo>
                          <a:pt x="307" y="194"/>
                          <a:pt x="304" y="228"/>
                          <a:pt x="315" y="221"/>
                        </a:cubicBezTo>
                        <a:cubicBezTo>
                          <a:pt x="326" y="215"/>
                          <a:pt x="331" y="209"/>
                          <a:pt x="332" y="203"/>
                        </a:cubicBezTo>
                        <a:cubicBezTo>
                          <a:pt x="333" y="197"/>
                          <a:pt x="344" y="189"/>
                          <a:pt x="347" y="189"/>
                        </a:cubicBezTo>
                        <a:cubicBezTo>
                          <a:pt x="350" y="189"/>
                          <a:pt x="362" y="189"/>
                          <a:pt x="362" y="189"/>
                        </a:cubicBezTo>
                        <a:cubicBezTo>
                          <a:pt x="362" y="189"/>
                          <a:pt x="362" y="191"/>
                          <a:pt x="362" y="193"/>
                        </a:cubicBezTo>
                        <a:cubicBezTo>
                          <a:pt x="364" y="192"/>
                          <a:pt x="367" y="190"/>
                          <a:pt x="368" y="188"/>
                        </a:cubicBezTo>
                        <a:cubicBezTo>
                          <a:pt x="372" y="181"/>
                          <a:pt x="371" y="170"/>
                          <a:pt x="374" y="169"/>
                        </a:cubicBezTo>
                        <a:cubicBezTo>
                          <a:pt x="377" y="168"/>
                          <a:pt x="382" y="167"/>
                          <a:pt x="383" y="165"/>
                        </a:cubicBezTo>
                        <a:cubicBezTo>
                          <a:pt x="384" y="162"/>
                          <a:pt x="387" y="147"/>
                          <a:pt x="388" y="147"/>
                        </a:cubicBezTo>
                        <a:cubicBezTo>
                          <a:pt x="390" y="147"/>
                          <a:pt x="426" y="146"/>
                          <a:pt x="426" y="145"/>
                        </a:cubicBezTo>
                        <a:cubicBezTo>
                          <a:pt x="427" y="144"/>
                          <a:pt x="427" y="137"/>
                          <a:pt x="432" y="136"/>
                        </a:cubicBezTo>
                        <a:cubicBezTo>
                          <a:pt x="435" y="136"/>
                          <a:pt x="441" y="136"/>
                          <a:pt x="448" y="135"/>
                        </a:cubicBezTo>
                        <a:cubicBezTo>
                          <a:pt x="447" y="133"/>
                          <a:pt x="446" y="132"/>
                          <a:pt x="446" y="130"/>
                        </a:cubicBezTo>
                        <a:cubicBezTo>
                          <a:pt x="447" y="125"/>
                          <a:pt x="474" y="126"/>
                          <a:pt x="474" y="120"/>
                        </a:cubicBezTo>
                        <a:cubicBezTo>
                          <a:pt x="474" y="113"/>
                          <a:pt x="473" y="80"/>
                          <a:pt x="478" y="64"/>
                        </a:cubicBezTo>
                        <a:cubicBezTo>
                          <a:pt x="481" y="54"/>
                          <a:pt x="489" y="43"/>
                          <a:pt x="494" y="36"/>
                        </a:cubicBezTo>
                        <a:cubicBezTo>
                          <a:pt x="523" y="37"/>
                          <a:pt x="578" y="37"/>
                          <a:pt x="581" y="35"/>
                        </a:cubicBezTo>
                        <a:cubicBezTo>
                          <a:pt x="585" y="33"/>
                          <a:pt x="590" y="26"/>
                          <a:pt x="591" y="26"/>
                        </a:cubicBezTo>
                        <a:cubicBezTo>
                          <a:pt x="592" y="26"/>
                          <a:pt x="597" y="32"/>
                          <a:pt x="602" y="33"/>
                        </a:cubicBezTo>
                        <a:cubicBezTo>
                          <a:pt x="607" y="34"/>
                          <a:pt x="639" y="48"/>
                          <a:pt x="648" y="44"/>
                        </a:cubicBezTo>
                        <a:cubicBezTo>
                          <a:pt x="657" y="39"/>
                          <a:pt x="699" y="18"/>
                          <a:pt x="708" y="17"/>
                        </a:cubicBezTo>
                        <a:cubicBezTo>
                          <a:pt x="717" y="16"/>
                          <a:pt x="738" y="21"/>
                          <a:pt x="738" y="21"/>
                        </a:cubicBezTo>
                        <a:cubicBezTo>
                          <a:pt x="738" y="21"/>
                          <a:pt x="749" y="32"/>
                          <a:pt x="759" y="27"/>
                        </a:cubicBezTo>
                        <a:cubicBezTo>
                          <a:pt x="769" y="22"/>
                          <a:pt x="791" y="1"/>
                          <a:pt x="801" y="1"/>
                        </a:cubicBezTo>
                        <a:cubicBezTo>
                          <a:pt x="812" y="2"/>
                          <a:pt x="839" y="0"/>
                          <a:pt x="843" y="3"/>
                        </a:cubicBezTo>
                        <a:cubicBezTo>
                          <a:pt x="848" y="5"/>
                          <a:pt x="881" y="49"/>
                          <a:pt x="886" y="51"/>
                        </a:cubicBezTo>
                        <a:cubicBezTo>
                          <a:pt x="891" y="53"/>
                          <a:pt x="908" y="58"/>
                          <a:pt x="912" y="54"/>
                        </a:cubicBezTo>
                        <a:cubicBezTo>
                          <a:pt x="915" y="50"/>
                          <a:pt x="914" y="35"/>
                          <a:pt x="924" y="38"/>
                        </a:cubicBezTo>
                        <a:cubicBezTo>
                          <a:pt x="931" y="40"/>
                          <a:pt x="937" y="42"/>
                          <a:pt x="943" y="44"/>
                        </a:cubicBezTo>
                        <a:cubicBezTo>
                          <a:pt x="944" y="50"/>
                          <a:pt x="945" y="57"/>
                          <a:pt x="944" y="61"/>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520">
                    <a:extLst>
                      <a:ext uri="{FF2B5EF4-FFF2-40B4-BE49-F238E27FC236}">
                        <a16:creationId xmlns:a16="http://schemas.microsoft.com/office/drawing/2014/main" id="{5FE61F1D-1E7D-10D9-23B1-32CEBCEE06A9}"/>
                      </a:ext>
                    </a:extLst>
                  </p:cNvPr>
                  <p:cNvSpPr>
                    <a:spLocks noChangeAspect="1"/>
                  </p:cNvSpPr>
                  <p:nvPr/>
                </p:nvSpPr>
                <p:spPr bwMode="auto">
                  <a:xfrm>
                    <a:off x="5864273" y="4665516"/>
                    <a:ext cx="342609" cy="421352"/>
                  </a:xfrm>
                  <a:custGeom>
                    <a:avLst/>
                    <a:gdLst>
                      <a:gd name="T0" fmla="*/ 500 w 876"/>
                      <a:gd name="T1" fmla="*/ 1 h 1078"/>
                      <a:gd name="T2" fmla="*/ 415 w 876"/>
                      <a:gd name="T3" fmla="*/ 23 h 1078"/>
                      <a:gd name="T4" fmla="*/ 402 w 876"/>
                      <a:gd name="T5" fmla="*/ 43 h 1078"/>
                      <a:gd name="T6" fmla="*/ 339 w 876"/>
                      <a:gd name="T7" fmla="*/ 83 h 1078"/>
                      <a:gd name="T8" fmla="*/ 298 w 876"/>
                      <a:gd name="T9" fmla="*/ 143 h 1078"/>
                      <a:gd name="T10" fmla="*/ 241 w 876"/>
                      <a:gd name="T11" fmla="*/ 186 h 1078"/>
                      <a:gd name="T12" fmla="*/ 186 w 876"/>
                      <a:gd name="T13" fmla="*/ 237 h 1078"/>
                      <a:gd name="T14" fmla="*/ 128 w 876"/>
                      <a:gd name="T15" fmla="*/ 287 h 1078"/>
                      <a:gd name="T16" fmla="*/ 79 w 876"/>
                      <a:gd name="T17" fmla="*/ 270 h 1078"/>
                      <a:gd name="T18" fmla="*/ 47 w 876"/>
                      <a:gd name="T19" fmla="*/ 229 h 1078"/>
                      <a:gd name="T20" fmla="*/ 34 w 876"/>
                      <a:gd name="T21" fmla="*/ 270 h 1078"/>
                      <a:gd name="T22" fmla="*/ 4 w 876"/>
                      <a:gd name="T23" fmla="*/ 313 h 1078"/>
                      <a:gd name="T24" fmla="*/ 8 w 876"/>
                      <a:gd name="T25" fmla="*/ 343 h 1078"/>
                      <a:gd name="T26" fmla="*/ 40 w 876"/>
                      <a:gd name="T27" fmla="*/ 349 h 1078"/>
                      <a:gd name="T28" fmla="*/ 110 w 876"/>
                      <a:gd name="T29" fmla="*/ 369 h 1078"/>
                      <a:gd name="T30" fmla="*/ 158 w 876"/>
                      <a:gd name="T31" fmla="*/ 384 h 1078"/>
                      <a:gd name="T32" fmla="*/ 187 w 876"/>
                      <a:gd name="T33" fmla="*/ 440 h 1078"/>
                      <a:gd name="T34" fmla="*/ 123 w 876"/>
                      <a:gd name="T35" fmla="*/ 497 h 1078"/>
                      <a:gd name="T36" fmla="*/ 113 w 876"/>
                      <a:gd name="T37" fmla="*/ 552 h 1078"/>
                      <a:gd name="T38" fmla="*/ 103 w 876"/>
                      <a:gd name="T39" fmla="*/ 579 h 1078"/>
                      <a:gd name="T40" fmla="*/ 137 w 876"/>
                      <a:gd name="T41" fmla="*/ 602 h 1078"/>
                      <a:gd name="T42" fmla="*/ 186 w 876"/>
                      <a:gd name="T43" fmla="*/ 641 h 1078"/>
                      <a:gd name="T44" fmla="*/ 224 w 876"/>
                      <a:gd name="T45" fmla="*/ 726 h 1078"/>
                      <a:gd name="T46" fmla="*/ 214 w 876"/>
                      <a:gd name="T47" fmla="*/ 785 h 1078"/>
                      <a:gd name="T48" fmla="*/ 250 w 876"/>
                      <a:gd name="T49" fmla="*/ 819 h 1078"/>
                      <a:gd name="T50" fmla="*/ 274 w 876"/>
                      <a:gd name="T51" fmla="*/ 866 h 1078"/>
                      <a:gd name="T52" fmla="*/ 294 w 876"/>
                      <a:gd name="T53" fmla="*/ 928 h 1078"/>
                      <a:gd name="T54" fmla="*/ 400 w 876"/>
                      <a:gd name="T55" fmla="*/ 957 h 1078"/>
                      <a:gd name="T56" fmla="*/ 424 w 876"/>
                      <a:gd name="T57" fmla="*/ 971 h 1078"/>
                      <a:gd name="T58" fmla="*/ 473 w 876"/>
                      <a:gd name="T59" fmla="*/ 980 h 1078"/>
                      <a:gd name="T60" fmla="*/ 484 w 876"/>
                      <a:gd name="T61" fmla="*/ 971 h 1078"/>
                      <a:gd name="T62" fmla="*/ 528 w 876"/>
                      <a:gd name="T63" fmla="*/ 983 h 1078"/>
                      <a:gd name="T64" fmla="*/ 559 w 876"/>
                      <a:gd name="T65" fmla="*/ 1003 h 1078"/>
                      <a:gd name="T66" fmla="*/ 614 w 876"/>
                      <a:gd name="T67" fmla="*/ 1016 h 1078"/>
                      <a:gd name="T68" fmla="*/ 667 w 876"/>
                      <a:gd name="T69" fmla="*/ 1061 h 1078"/>
                      <a:gd name="T70" fmla="*/ 691 w 876"/>
                      <a:gd name="T71" fmla="*/ 1074 h 1078"/>
                      <a:gd name="T72" fmla="*/ 708 w 876"/>
                      <a:gd name="T73" fmla="*/ 1029 h 1078"/>
                      <a:gd name="T74" fmla="*/ 718 w 876"/>
                      <a:gd name="T75" fmla="*/ 945 h 1078"/>
                      <a:gd name="T76" fmla="*/ 742 w 876"/>
                      <a:gd name="T77" fmla="*/ 865 h 1078"/>
                      <a:gd name="T78" fmla="*/ 691 w 876"/>
                      <a:gd name="T79" fmla="*/ 795 h 1078"/>
                      <a:gd name="T80" fmla="*/ 664 w 876"/>
                      <a:gd name="T81" fmla="*/ 736 h 1078"/>
                      <a:gd name="T82" fmla="*/ 700 w 876"/>
                      <a:gd name="T83" fmla="*/ 664 h 1078"/>
                      <a:gd name="T84" fmla="*/ 699 w 876"/>
                      <a:gd name="T85" fmla="*/ 558 h 1078"/>
                      <a:gd name="T86" fmla="*/ 671 w 876"/>
                      <a:gd name="T87" fmla="*/ 452 h 1078"/>
                      <a:gd name="T88" fmla="*/ 676 w 876"/>
                      <a:gd name="T89" fmla="*/ 416 h 1078"/>
                      <a:gd name="T90" fmla="*/ 734 w 876"/>
                      <a:gd name="T91" fmla="*/ 418 h 1078"/>
                      <a:gd name="T92" fmla="*/ 839 w 876"/>
                      <a:gd name="T93" fmla="*/ 416 h 1078"/>
                      <a:gd name="T94" fmla="*/ 873 w 876"/>
                      <a:gd name="T95" fmla="*/ 343 h 1078"/>
                      <a:gd name="T96" fmla="*/ 856 w 876"/>
                      <a:gd name="T97" fmla="*/ 259 h 1078"/>
                      <a:gd name="T98" fmla="*/ 806 w 876"/>
                      <a:gd name="T99" fmla="*/ 214 h 1078"/>
                      <a:gd name="T100" fmla="*/ 718 w 876"/>
                      <a:gd name="T101" fmla="*/ 246 h 1078"/>
                      <a:gd name="T102" fmla="*/ 634 w 876"/>
                      <a:gd name="T103" fmla="*/ 199 h 1078"/>
                      <a:gd name="T104" fmla="*/ 583 w 876"/>
                      <a:gd name="T105" fmla="*/ 149 h 1078"/>
                      <a:gd name="T106" fmla="*/ 563 w 876"/>
                      <a:gd name="T107" fmla="*/ 114 h 1078"/>
                      <a:gd name="T108" fmla="*/ 555 w 876"/>
                      <a:gd name="T109" fmla="*/ 84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6" h="1078">
                        <a:moveTo>
                          <a:pt x="555" y="84"/>
                        </a:moveTo>
                        <a:cubicBezTo>
                          <a:pt x="543" y="84"/>
                          <a:pt x="500" y="1"/>
                          <a:pt x="500" y="1"/>
                        </a:cubicBezTo>
                        <a:cubicBezTo>
                          <a:pt x="436" y="0"/>
                          <a:pt x="436" y="0"/>
                          <a:pt x="436" y="0"/>
                        </a:cubicBezTo>
                        <a:cubicBezTo>
                          <a:pt x="436" y="0"/>
                          <a:pt x="417" y="20"/>
                          <a:pt x="415" y="23"/>
                        </a:cubicBezTo>
                        <a:cubicBezTo>
                          <a:pt x="413" y="25"/>
                          <a:pt x="411" y="40"/>
                          <a:pt x="411" y="40"/>
                        </a:cubicBezTo>
                        <a:cubicBezTo>
                          <a:pt x="411" y="40"/>
                          <a:pt x="404" y="40"/>
                          <a:pt x="402" y="43"/>
                        </a:cubicBezTo>
                        <a:cubicBezTo>
                          <a:pt x="399" y="45"/>
                          <a:pt x="385" y="62"/>
                          <a:pt x="372" y="70"/>
                        </a:cubicBezTo>
                        <a:cubicBezTo>
                          <a:pt x="358" y="78"/>
                          <a:pt x="353" y="76"/>
                          <a:pt x="339" y="83"/>
                        </a:cubicBezTo>
                        <a:cubicBezTo>
                          <a:pt x="325" y="89"/>
                          <a:pt x="321" y="110"/>
                          <a:pt x="315" y="115"/>
                        </a:cubicBezTo>
                        <a:cubicBezTo>
                          <a:pt x="308" y="120"/>
                          <a:pt x="307" y="136"/>
                          <a:pt x="298" y="143"/>
                        </a:cubicBezTo>
                        <a:cubicBezTo>
                          <a:pt x="290" y="150"/>
                          <a:pt x="269" y="159"/>
                          <a:pt x="262" y="165"/>
                        </a:cubicBezTo>
                        <a:cubicBezTo>
                          <a:pt x="254" y="172"/>
                          <a:pt x="247" y="183"/>
                          <a:pt x="241" y="186"/>
                        </a:cubicBezTo>
                        <a:cubicBezTo>
                          <a:pt x="236" y="190"/>
                          <a:pt x="232" y="209"/>
                          <a:pt x="226" y="215"/>
                        </a:cubicBezTo>
                        <a:cubicBezTo>
                          <a:pt x="221" y="222"/>
                          <a:pt x="191" y="232"/>
                          <a:pt x="186" y="237"/>
                        </a:cubicBezTo>
                        <a:cubicBezTo>
                          <a:pt x="182" y="241"/>
                          <a:pt x="164" y="260"/>
                          <a:pt x="160" y="266"/>
                        </a:cubicBezTo>
                        <a:cubicBezTo>
                          <a:pt x="156" y="271"/>
                          <a:pt x="142" y="277"/>
                          <a:pt x="128" y="287"/>
                        </a:cubicBezTo>
                        <a:cubicBezTo>
                          <a:pt x="114" y="298"/>
                          <a:pt x="91" y="289"/>
                          <a:pt x="88" y="288"/>
                        </a:cubicBezTo>
                        <a:cubicBezTo>
                          <a:pt x="85" y="288"/>
                          <a:pt x="81" y="282"/>
                          <a:pt x="79" y="270"/>
                        </a:cubicBezTo>
                        <a:cubicBezTo>
                          <a:pt x="77" y="258"/>
                          <a:pt x="72" y="257"/>
                          <a:pt x="69" y="247"/>
                        </a:cubicBezTo>
                        <a:cubicBezTo>
                          <a:pt x="67" y="237"/>
                          <a:pt x="55" y="233"/>
                          <a:pt x="47" y="229"/>
                        </a:cubicBezTo>
                        <a:cubicBezTo>
                          <a:pt x="39" y="224"/>
                          <a:pt x="40" y="239"/>
                          <a:pt x="36" y="245"/>
                        </a:cubicBezTo>
                        <a:cubicBezTo>
                          <a:pt x="32" y="251"/>
                          <a:pt x="35" y="260"/>
                          <a:pt x="34" y="270"/>
                        </a:cubicBezTo>
                        <a:cubicBezTo>
                          <a:pt x="34" y="279"/>
                          <a:pt x="21" y="300"/>
                          <a:pt x="19" y="303"/>
                        </a:cubicBezTo>
                        <a:cubicBezTo>
                          <a:pt x="18" y="306"/>
                          <a:pt x="9" y="313"/>
                          <a:pt x="4" y="313"/>
                        </a:cubicBezTo>
                        <a:cubicBezTo>
                          <a:pt x="2" y="313"/>
                          <a:pt x="1" y="314"/>
                          <a:pt x="0" y="315"/>
                        </a:cubicBezTo>
                        <a:cubicBezTo>
                          <a:pt x="2" y="322"/>
                          <a:pt x="7" y="338"/>
                          <a:pt x="8" y="343"/>
                        </a:cubicBezTo>
                        <a:cubicBezTo>
                          <a:pt x="10" y="350"/>
                          <a:pt x="19" y="358"/>
                          <a:pt x="24" y="358"/>
                        </a:cubicBezTo>
                        <a:cubicBezTo>
                          <a:pt x="29" y="359"/>
                          <a:pt x="40" y="349"/>
                          <a:pt x="40" y="349"/>
                        </a:cubicBezTo>
                        <a:cubicBezTo>
                          <a:pt x="85" y="349"/>
                          <a:pt x="85" y="349"/>
                          <a:pt x="85" y="349"/>
                        </a:cubicBezTo>
                        <a:cubicBezTo>
                          <a:pt x="110" y="369"/>
                          <a:pt x="110" y="369"/>
                          <a:pt x="110" y="369"/>
                        </a:cubicBezTo>
                        <a:cubicBezTo>
                          <a:pt x="110" y="369"/>
                          <a:pt x="119" y="383"/>
                          <a:pt x="122" y="384"/>
                        </a:cubicBezTo>
                        <a:cubicBezTo>
                          <a:pt x="124" y="386"/>
                          <a:pt x="154" y="384"/>
                          <a:pt x="158" y="384"/>
                        </a:cubicBezTo>
                        <a:cubicBezTo>
                          <a:pt x="161" y="384"/>
                          <a:pt x="195" y="401"/>
                          <a:pt x="197" y="409"/>
                        </a:cubicBezTo>
                        <a:cubicBezTo>
                          <a:pt x="199" y="417"/>
                          <a:pt x="195" y="435"/>
                          <a:pt x="187" y="440"/>
                        </a:cubicBezTo>
                        <a:cubicBezTo>
                          <a:pt x="180" y="446"/>
                          <a:pt x="183" y="463"/>
                          <a:pt x="176" y="473"/>
                        </a:cubicBezTo>
                        <a:cubicBezTo>
                          <a:pt x="169" y="483"/>
                          <a:pt x="129" y="494"/>
                          <a:pt x="123" y="497"/>
                        </a:cubicBezTo>
                        <a:cubicBezTo>
                          <a:pt x="116" y="500"/>
                          <a:pt x="118" y="509"/>
                          <a:pt x="116" y="515"/>
                        </a:cubicBezTo>
                        <a:cubicBezTo>
                          <a:pt x="115" y="520"/>
                          <a:pt x="114" y="539"/>
                          <a:pt x="113" y="552"/>
                        </a:cubicBezTo>
                        <a:cubicBezTo>
                          <a:pt x="113" y="565"/>
                          <a:pt x="121" y="571"/>
                          <a:pt x="121" y="571"/>
                        </a:cubicBezTo>
                        <a:cubicBezTo>
                          <a:pt x="121" y="571"/>
                          <a:pt x="104" y="579"/>
                          <a:pt x="103" y="579"/>
                        </a:cubicBezTo>
                        <a:cubicBezTo>
                          <a:pt x="101" y="579"/>
                          <a:pt x="103" y="604"/>
                          <a:pt x="103" y="604"/>
                        </a:cubicBezTo>
                        <a:cubicBezTo>
                          <a:pt x="137" y="602"/>
                          <a:pt x="137" y="602"/>
                          <a:pt x="137" y="602"/>
                        </a:cubicBezTo>
                        <a:cubicBezTo>
                          <a:pt x="160" y="622"/>
                          <a:pt x="160" y="622"/>
                          <a:pt x="160" y="622"/>
                        </a:cubicBezTo>
                        <a:cubicBezTo>
                          <a:pt x="160" y="622"/>
                          <a:pt x="181" y="634"/>
                          <a:pt x="186" y="641"/>
                        </a:cubicBezTo>
                        <a:cubicBezTo>
                          <a:pt x="191" y="647"/>
                          <a:pt x="213" y="660"/>
                          <a:pt x="204" y="669"/>
                        </a:cubicBezTo>
                        <a:cubicBezTo>
                          <a:pt x="196" y="678"/>
                          <a:pt x="224" y="724"/>
                          <a:pt x="224" y="726"/>
                        </a:cubicBezTo>
                        <a:cubicBezTo>
                          <a:pt x="224" y="728"/>
                          <a:pt x="213" y="736"/>
                          <a:pt x="206" y="746"/>
                        </a:cubicBezTo>
                        <a:cubicBezTo>
                          <a:pt x="199" y="756"/>
                          <a:pt x="212" y="781"/>
                          <a:pt x="214" y="785"/>
                        </a:cubicBezTo>
                        <a:cubicBezTo>
                          <a:pt x="215" y="789"/>
                          <a:pt x="255" y="783"/>
                          <a:pt x="255" y="783"/>
                        </a:cubicBezTo>
                        <a:cubicBezTo>
                          <a:pt x="250" y="819"/>
                          <a:pt x="250" y="819"/>
                          <a:pt x="250" y="819"/>
                        </a:cubicBezTo>
                        <a:cubicBezTo>
                          <a:pt x="265" y="819"/>
                          <a:pt x="265" y="819"/>
                          <a:pt x="265" y="819"/>
                        </a:cubicBezTo>
                        <a:cubicBezTo>
                          <a:pt x="265" y="819"/>
                          <a:pt x="272" y="862"/>
                          <a:pt x="274" y="866"/>
                        </a:cubicBezTo>
                        <a:cubicBezTo>
                          <a:pt x="276" y="870"/>
                          <a:pt x="290" y="897"/>
                          <a:pt x="294" y="904"/>
                        </a:cubicBezTo>
                        <a:cubicBezTo>
                          <a:pt x="298" y="912"/>
                          <a:pt x="296" y="923"/>
                          <a:pt x="294" y="928"/>
                        </a:cubicBezTo>
                        <a:cubicBezTo>
                          <a:pt x="293" y="934"/>
                          <a:pt x="319" y="953"/>
                          <a:pt x="321" y="954"/>
                        </a:cubicBezTo>
                        <a:cubicBezTo>
                          <a:pt x="322" y="955"/>
                          <a:pt x="377" y="956"/>
                          <a:pt x="400" y="957"/>
                        </a:cubicBezTo>
                        <a:cubicBezTo>
                          <a:pt x="405" y="957"/>
                          <a:pt x="408" y="958"/>
                          <a:pt x="410" y="958"/>
                        </a:cubicBezTo>
                        <a:cubicBezTo>
                          <a:pt x="417" y="959"/>
                          <a:pt x="420" y="964"/>
                          <a:pt x="424" y="971"/>
                        </a:cubicBezTo>
                        <a:cubicBezTo>
                          <a:pt x="428" y="979"/>
                          <a:pt x="436" y="981"/>
                          <a:pt x="445" y="991"/>
                        </a:cubicBezTo>
                        <a:cubicBezTo>
                          <a:pt x="454" y="1000"/>
                          <a:pt x="464" y="980"/>
                          <a:pt x="473" y="980"/>
                        </a:cubicBezTo>
                        <a:cubicBezTo>
                          <a:pt x="481" y="980"/>
                          <a:pt x="485" y="971"/>
                          <a:pt x="484" y="971"/>
                        </a:cubicBezTo>
                        <a:cubicBezTo>
                          <a:pt x="484" y="971"/>
                          <a:pt x="484" y="971"/>
                          <a:pt x="484" y="971"/>
                        </a:cubicBezTo>
                        <a:cubicBezTo>
                          <a:pt x="484" y="971"/>
                          <a:pt x="484" y="971"/>
                          <a:pt x="484" y="971"/>
                        </a:cubicBezTo>
                        <a:cubicBezTo>
                          <a:pt x="486" y="972"/>
                          <a:pt x="526" y="982"/>
                          <a:pt x="528" y="983"/>
                        </a:cubicBezTo>
                        <a:cubicBezTo>
                          <a:pt x="528" y="984"/>
                          <a:pt x="531" y="986"/>
                          <a:pt x="535" y="988"/>
                        </a:cubicBezTo>
                        <a:cubicBezTo>
                          <a:pt x="543" y="994"/>
                          <a:pt x="556" y="1002"/>
                          <a:pt x="559" y="1003"/>
                        </a:cubicBezTo>
                        <a:cubicBezTo>
                          <a:pt x="563" y="1004"/>
                          <a:pt x="569" y="1000"/>
                          <a:pt x="589" y="1000"/>
                        </a:cubicBezTo>
                        <a:cubicBezTo>
                          <a:pt x="609" y="1000"/>
                          <a:pt x="606" y="1004"/>
                          <a:pt x="614" y="1016"/>
                        </a:cubicBezTo>
                        <a:cubicBezTo>
                          <a:pt x="623" y="1029"/>
                          <a:pt x="656" y="1035"/>
                          <a:pt x="663" y="1037"/>
                        </a:cubicBezTo>
                        <a:cubicBezTo>
                          <a:pt x="669" y="1040"/>
                          <a:pt x="667" y="1052"/>
                          <a:pt x="667" y="1061"/>
                        </a:cubicBezTo>
                        <a:cubicBezTo>
                          <a:pt x="668" y="1070"/>
                          <a:pt x="675" y="1064"/>
                          <a:pt x="680" y="1064"/>
                        </a:cubicBezTo>
                        <a:cubicBezTo>
                          <a:pt x="685" y="1064"/>
                          <a:pt x="688" y="1071"/>
                          <a:pt x="691" y="1074"/>
                        </a:cubicBezTo>
                        <a:cubicBezTo>
                          <a:pt x="693" y="1078"/>
                          <a:pt x="698" y="1075"/>
                          <a:pt x="705" y="1071"/>
                        </a:cubicBezTo>
                        <a:cubicBezTo>
                          <a:pt x="711" y="1068"/>
                          <a:pt x="708" y="1029"/>
                          <a:pt x="708" y="1029"/>
                        </a:cubicBezTo>
                        <a:cubicBezTo>
                          <a:pt x="708" y="1029"/>
                          <a:pt x="687" y="982"/>
                          <a:pt x="688" y="980"/>
                        </a:cubicBezTo>
                        <a:cubicBezTo>
                          <a:pt x="689" y="977"/>
                          <a:pt x="718" y="949"/>
                          <a:pt x="718" y="945"/>
                        </a:cubicBezTo>
                        <a:cubicBezTo>
                          <a:pt x="718" y="942"/>
                          <a:pt x="730" y="928"/>
                          <a:pt x="736" y="922"/>
                        </a:cubicBezTo>
                        <a:cubicBezTo>
                          <a:pt x="742" y="916"/>
                          <a:pt x="741" y="874"/>
                          <a:pt x="742" y="865"/>
                        </a:cubicBezTo>
                        <a:cubicBezTo>
                          <a:pt x="743" y="856"/>
                          <a:pt x="737" y="810"/>
                          <a:pt x="733" y="809"/>
                        </a:cubicBezTo>
                        <a:cubicBezTo>
                          <a:pt x="728" y="807"/>
                          <a:pt x="708" y="803"/>
                          <a:pt x="691" y="795"/>
                        </a:cubicBezTo>
                        <a:cubicBezTo>
                          <a:pt x="674" y="788"/>
                          <a:pt x="676" y="761"/>
                          <a:pt x="676" y="759"/>
                        </a:cubicBezTo>
                        <a:cubicBezTo>
                          <a:pt x="675" y="757"/>
                          <a:pt x="663" y="742"/>
                          <a:pt x="664" y="736"/>
                        </a:cubicBezTo>
                        <a:cubicBezTo>
                          <a:pt x="664" y="730"/>
                          <a:pt x="671" y="722"/>
                          <a:pt x="671" y="715"/>
                        </a:cubicBezTo>
                        <a:cubicBezTo>
                          <a:pt x="671" y="708"/>
                          <a:pt x="694" y="669"/>
                          <a:pt x="700" y="664"/>
                        </a:cubicBezTo>
                        <a:cubicBezTo>
                          <a:pt x="705" y="659"/>
                          <a:pt x="690" y="589"/>
                          <a:pt x="690" y="582"/>
                        </a:cubicBezTo>
                        <a:cubicBezTo>
                          <a:pt x="690" y="575"/>
                          <a:pt x="694" y="569"/>
                          <a:pt x="699" y="558"/>
                        </a:cubicBezTo>
                        <a:cubicBezTo>
                          <a:pt x="704" y="547"/>
                          <a:pt x="694" y="517"/>
                          <a:pt x="687" y="500"/>
                        </a:cubicBezTo>
                        <a:cubicBezTo>
                          <a:pt x="679" y="483"/>
                          <a:pt x="679" y="459"/>
                          <a:pt x="671" y="452"/>
                        </a:cubicBezTo>
                        <a:cubicBezTo>
                          <a:pt x="663" y="445"/>
                          <a:pt x="654" y="440"/>
                          <a:pt x="654" y="433"/>
                        </a:cubicBezTo>
                        <a:cubicBezTo>
                          <a:pt x="654" y="426"/>
                          <a:pt x="669" y="416"/>
                          <a:pt x="676" y="416"/>
                        </a:cubicBezTo>
                        <a:cubicBezTo>
                          <a:pt x="683" y="415"/>
                          <a:pt x="692" y="424"/>
                          <a:pt x="698" y="426"/>
                        </a:cubicBezTo>
                        <a:cubicBezTo>
                          <a:pt x="704" y="427"/>
                          <a:pt x="722" y="418"/>
                          <a:pt x="734" y="418"/>
                        </a:cubicBezTo>
                        <a:cubicBezTo>
                          <a:pt x="747" y="418"/>
                          <a:pt x="756" y="409"/>
                          <a:pt x="777" y="408"/>
                        </a:cubicBezTo>
                        <a:cubicBezTo>
                          <a:pt x="792" y="408"/>
                          <a:pt x="822" y="413"/>
                          <a:pt x="839" y="416"/>
                        </a:cubicBezTo>
                        <a:cubicBezTo>
                          <a:pt x="839" y="416"/>
                          <a:pt x="839" y="415"/>
                          <a:pt x="839" y="415"/>
                        </a:cubicBezTo>
                        <a:cubicBezTo>
                          <a:pt x="839" y="415"/>
                          <a:pt x="874" y="370"/>
                          <a:pt x="873" y="343"/>
                        </a:cubicBezTo>
                        <a:cubicBezTo>
                          <a:pt x="871" y="317"/>
                          <a:pt x="876" y="287"/>
                          <a:pt x="872" y="284"/>
                        </a:cubicBezTo>
                        <a:cubicBezTo>
                          <a:pt x="868" y="281"/>
                          <a:pt x="869" y="284"/>
                          <a:pt x="856" y="259"/>
                        </a:cubicBezTo>
                        <a:cubicBezTo>
                          <a:pt x="843" y="235"/>
                          <a:pt x="836" y="239"/>
                          <a:pt x="825" y="230"/>
                        </a:cubicBezTo>
                        <a:cubicBezTo>
                          <a:pt x="814" y="222"/>
                          <a:pt x="808" y="214"/>
                          <a:pt x="806" y="214"/>
                        </a:cubicBezTo>
                        <a:cubicBezTo>
                          <a:pt x="803" y="214"/>
                          <a:pt x="763" y="212"/>
                          <a:pt x="763" y="212"/>
                        </a:cubicBezTo>
                        <a:cubicBezTo>
                          <a:pt x="718" y="246"/>
                          <a:pt x="718" y="246"/>
                          <a:pt x="718" y="246"/>
                        </a:cubicBezTo>
                        <a:cubicBezTo>
                          <a:pt x="669" y="242"/>
                          <a:pt x="669" y="242"/>
                          <a:pt x="669" y="242"/>
                        </a:cubicBezTo>
                        <a:cubicBezTo>
                          <a:pt x="669" y="242"/>
                          <a:pt x="633" y="198"/>
                          <a:pt x="634" y="199"/>
                        </a:cubicBezTo>
                        <a:cubicBezTo>
                          <a:pt x="636" y="199"/>
                          <a:pt x="636" y="179"/>
                          <a:pt x="624" y="171"/>
                        </a:cubicBezTo>
                        <a:cubicBezTo>
                          <a:pt x="612" y="163"/>
                          <a:pt x="583" y="149"/>
                          <a:pt x="583" y="149"/>
                        </a:cubicBezTo>
                        <a:cubicBezTo>
                          <a:pt x="583" y="149"/>
                          <a:pt x="583" y="131"/>
                          <a:pt x="578" y="128"/>
                        </a:cubicBezTo>
                        <a:cubicBezTo>
                          <a:pt x="572" y="126"/>
                          <a:pt x="564" y="125"/>
                          <a:pt x="563" y="114"/>
                        </a:cubicBezTo>
                        <a:cubicBezTo>
                          <a:pt x="562" y="108"/>
                          <a:pt x="561" y="93"/>
                          <a:pt x="561" y="84"/>
                        </a:cubicBezTo>
                        <a:cubicBezTo>
                          <a:pt x="559" y="84"/>
                          <a:pt x="557" y="85"/>
                          <a:pt x="555" y="84"/>
                        </a:cubicBezTo>
                        <a:close/>
                      </a:path>
                    </a:pathLst>
                  </a:custGeom>
                  <a:solidFill>
                    <a:schemeClr val="accent2"/>
                  </a:solidFill>
                  <a:ln w="3175" cap="flat" cmpd="sng">
                    <a:solidFill>
                      <a:srgbClr val="92D05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Freeform 521">
                    <a:extLst>
                      <a:ext uri="{FF2B5EF4-FFF2-40B4-BE49-F238E27FC236}">
                        <a16:creationId xmlns:a16="http://schemas.microsoft.com/office/drawing/2014/main" id="{BFA2C7F2-5B0E-DB05-074C-7EC16D30831C}"/>
                      </a:ext>
                    </a:extLst>
                  </p:cNvPr>
                  <p:cNvSpPr>
                    <a:spLocks noChangeAspect="1"/>
                  </p:cNvSpPr>
                  <p:nvPr/>
                </p:nvSpPr>
                <p:spPr bwMode="auto">
                  <a:xfrm>
                    <a:off x="7102935" y="3202756"/>
                    <a:ext cx="473184" cy="628437"/>
                  </a:xfrm>
                  <a:custGeom>
                    <a:avLst/>
                    <a:gdLst>
                      <a:gd name="T0" fmla="*/ 948 w 1213"/>
                      <a:gd name="T1" fmla="*/ 444 h 1605"/>
                      <a:gd name="T2" fmla="*/ 907 w 1213"/>
                      <a:gd name="T3" fmla="*/ 314 h 1605"/>
                      <a:gd name="T4" fmla="*/ 869 w 1213"/>
                      <a:gd name="T5" fmla="*/ 255 h 1605"/>
                      <a:gd name="T6" fmla="*/ 808 w 1213"/>
                      <a:gd name="T7" fmla="*/ 213 h 1605"/>
                      <a:gd name="T8" fmla="*/ 770 w 1213"/>
                      <a:gd name="T9" fmla="*/ 171 h 1605"/>
                      <a:gd name="T10" fmla="*/ 746 w 1213"/>
                      <a:gd name="T11" fmla="*/ 102 h 1605"/>
                      <a:gd name="T12" fmla="*/ 691 w 1213"/>
                      <a:gd name="T13" fmla="*/ 53 h 1605"/>
                      <a:gd name="T14" fmla="*/ 576 w 1213"/>
                      <a:gd name="T15" fmla="*/ 0 h 1605"/>
                      <a:gd name="T16" fmla="*/ 455 w 1213"/>
                      <a:gd name="T17" fmla="*/ 40 h 1605"/>
                      <a:gd name="T18" fmla="*/ 406 w 1213"/>
                      <a:gd name="T19" fmla="*/ 112 h 1605"/>
                      <a:gd name="T20" fmla="*/ 341 w 1213"/>
                      <a:gd name="T21" fmla="*/ 168 h 1605"/>
                      <a:gd name="T22" fmla="*/ 249 w 1213"/>
                      <a:gd name="T23" fmla="*/ 158 h 1605"/>
                      <a:gd name="T24" fmla="*/ 188 w 1213"/>
                      <a:gd name="T25" fmla="*/ 216 h 1605"/>
                      <a:gd name="T26" fmla="*/ 105 w 1213"/>
                      <a:gd name="T27" fmla="*/ 278 h 1605"/>
                      <a:gd name="T28" fmla="*/ 99 w 1213"/>
                      <a:gd name="T29" fmla="*/ 333 h 1605"/>
                      <a:gd name="T30" fmla="*/ 147 w 1213"/>
                      <a:gd name="T31" fmla="*/ 397 h 1605"/>
                      <a:gd name="T32" fmla="*/ 101 w 1213"/>
                      <a:gd name="T33" fmla="*/ 370 h 1605"/>
                      <a:gd name="T34" fmla="*/ 59 w 1213"/>
                      <a:gd name="T35" fmla="*/ 418 h 1605"/>
                      <a:gd name="T36" fmla="*/ 46 w 1213"/>
                      <a:gd name="T37" fmla="*/ 482 h 1605"/>
                      <a:gd name="T38" fmla="*/ 0 w 1213"/>
                      <a:gd name="T39" fmla="*/ 600 h 1605"/>
                      <a:gd name="T40" fmla="*/ 60 w 1213"/>
                      <a:gd name="T41" fmla="*/ 694 h 1605"/>
                      <a:gd name="T42" fmla="*/ 165 w 1213"/>
                      <a:gd name="T43" fmla="*/ 732 h 1605"/>
                      <a:gd name="T44" fmla="*/ 244 w 1213"/>
                      <a:gd name="T45" fmla="*/ 759 h 1605"/>
                      <a:gd name="T46" fmla="*/ 282 w 1213"/>
                      <a:gd name="T47" fmla="*/ 918 h 1605"/>
                      <a:gd name="T48" fmla="*/ 288 w 1213"/>
                      <a:gd name="T49" fmla="*/ 1000 h 1605"/>
                      <a:gd name="T50" fmla="*/ 175 w 1213"/>
                      <a:gd name="T51" fmla="*/ 1091 h 1605"/>
                      <a:gd name="T52" fmla="*/ 241 w 1213"/>
                      <a:gd name="T53" fmla="*/ 1160 h 1605"/>
                      <a:gd name="T54" fmla="*/ 397 w 1213"/>
                      <a:gd name="T55" fmla="*/ 1272 h 1605"/>
                      <a:gd name="T56" fmla="*/ 417 w 1213"/>
                      <a:gd name="T57" fmla="*/ 1335 h 1605"/>
                      <a:gd name="T58" fmla="*/ 452 w 1213"/>
                      <a:gd name="T59" fmla="*/ 1540 h 1605"/>
                      <a:gd name="T60" fmla="*/ 693 w 1213"/>
                      <a:gd name="T61" fmla="*/ 1563 h 1605"/>
                      <a:gd name="T62" fmla="*/ 741 w 1213"/>
                      <a:gd name="T63" fmla="*/ 1587 h 1605"/>
                      <a:gd name="T64" fmla="*/ 787 w 1213"/>
                      <a:gd name="T65" fmla="*/ 1588 h 1605"/>
                      <a:gd name="T66" fmla="*/ 851 w 1213"/>
                      <a:gd name="T67" fmla="*/ 1553 h 1605"/>
                      <a:gd name="T68" fmla="*/ 920 w 1213"/>
                      <a:gd name="T69" fmla="*/ 1543 h 1605"/>
                      <a:gd name="T70" fmla="*/ 999 w 1213"/>
                      <a:gd name="T71" fmla="*/ 1523 h 1605"/>
                      <a:gd name="T72" fmla="*/ 1096 w 1213"/>
                      <a:gd name="T73" fmla="*/ 1480 h 1605"/>
                      <a:gd name="T74" fmla="*/ 1164 w 1213"/>
                      <a:gd name="T75" fmla="*/ 1432 h 1605"/>
                      <a:gd name="T76" fmla="*/ 1193 w 1213"/>
                      <a:gd name="T77" fmla="*/ 1386 h 1605"/>
                      <a:gd name="T78" fmla="*/ 1212 w 1213"/>
                      <a:gd name="T79" fmla="*/ 1305 h 1605"/>
                      <a:gd name="T80" fmla="*/ 1192 w 1213"/>
                      <a:gd name="T81" fmla="*/ 1193 h 1605"/>
                      <a:gd name="T82" fmla="*/ 1179 w 1213"/>
                      <a:gd name="T83" fmla="*/ 1137 h 1605"/>
                      <a:gd name="T84" fmla="*/ 1129 w 1213"/>
                      <a:gd name="T85" fmla="*/ 1042 h 1605"/>
                      <a:gd name="T86" fmla="*/ 1063 w 1213"/>
                      <a:gd name="T87" fmla="*/ 1006 h 1605"/>
                      <a:gd name="T88" fmla="*/ 1002 w 1213"/>
                      <a:gd name="T89" fmla="*/ 971 h 1605"/>
                      <a:gd name="T90" fmla="*/ 948 w 1213"/>
                      <a:gd name="T91" fmla="*/ 903 h 1605"/>
                      <a:gd name="T92" fmla="*/ 940 w 1213"/>
                      <a:gd name="T93" fmla="*/ 866 h 1605"/>
                      <a:gd name="T94" fmla="*/ 982 w 1213"/>
                      <a:gd name="T95" fmla="*/ 814 h 1605"/>
                      <a:gd name="T96" fmla="*/ 1057 w 1213"/>
                      <a:gd name="T97" fmla="*/ 786 h 1605"/>
                      <a:gd name="T98" fmla="*/ 1075 w 1213"/>
                      <a:gd name="T99" fmla="*/ 713 h 1605"/>
                      <a:gd name="T100" fmla="*/ 952 w 1213"/>
                      <a:gd name="T101" fmla="*/ 669 h 1605"/>
                      <a:gd name="T102" fmla="*/ 940 w 1213"/>
                      <a:gd name="T103" fmla="*/ 635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13" h="1605">
                        <a:moveTo>
                          <a:pt x="934" y="626"/>
                        </a:moveTo>
                        <a:cubicBezTo>
                          <a:pt x="934" y="626"/>
                          <a:pt x="947" y="459"/>
                          <a:pt x="948" y="444"/>
                        </a:cubicBezTo>
                        <a:cubicBezTo>
                          <a:pt x="949" y="429"/>
                          <a:pt x="945" y="366"/>
                          <a:pt x="939" y="355"/>
                        </a:cubicBezTo>
                        <a:cubicBezTo>
                          <a:pt x="933" y="345"/>
                          <a:pt x="907" y="328"/>
                          <a:pt x="907" y="314"/>
                        </a:cubicBezTo>
                        <a:cubicBezTo>
                          <a:pt x="907" y="299"/>
                          <a:pt x="900" y="286"/>
                          <a:pt x="893" y="281"/>
                        </a:cubicBezTo>
                        <a:cubicBezTo>
                          <a:pt x="886" y="276"/>
                          <a:pt x="880" y="264"/>
                          <a:pt x="869" y="255"/>
                        </a:cubicBezTo>
                        <a:cubicBezTo>
                          <a:pt x="858" y="246"/>
                          <a:pt x="847" y="241"/>
                          <a:pt x="840" y="240"/>
                        </a:cubicBezTo>
                        <a:cubicBezTo>
                          <a:pt x="834" y="239"/>
                          <a:pt x="813" y="221"/>
                          <a:pt x="808" y="213"/>
                        </a:cubicBezTo>
                        <a:cubicBezTo>
                          <a:pt x="803" y="205"/>
                          <a:pt x="803" y="194"/>
                          <a:pt x="796" y="192"/>
                        </a:cubicBezTo>
                        <a:cubicBezTo>
                          <a:pt x="789" y="190"/>
                          <a:pt x="779" y="184"/>
                          <a:pt x="770" y="171"/>
                        </a:cubicBezTo>
                        <a:cubicBezTo>
                          <a:pt x="762" y="158"/>
                          <a:pt x="756" y="151"/>
                          <a:pt x="756" y="144"/>
                        </a:cubicBezTo>
                        <a:cubicBezTo>
                          <a:pt x="755" y="136"/>
                          <a:pt x="746" y="104"/>
                          <a:pt x="746" y="102"/>
                        </a:cubicBezTo>
                        <a:cubicBezTo>
                          <a:pt x="747" y="101"/>
                          <a:pt x="742" y="79"/>
                          <a:pt x="731" y="72"/>
                        </a:cubicBezTo>
                        <a:cubicBezTo>
                          <a:pt x="721" y="66"/>
                          <a:pt x="702" y="53"/>
                          <a:pt x="691" y="53"/>
                        </a:cubicBezTo>
                        <a:cubicBezTo>
                          <a:pt x="680" y="53"/>
                          <a:pt x="674" y="58"/>
                          <a:pt x="664" y="48"/>
                        </a:cubicBezTo>
                        <a:cubicBezTo>
                          <a:pt x="654" y="37"/>
                          <a:pt x="576" y="0"/>
                          <a:pt x="576" y="0"/>
                        </a:cubicBezTo>
                        <a:cubicBezTo>
                          <a:pt x="472" y="0"/>
                          <a:pt x="472" y="0"/>
                          <a:pt x="472" y="0"/>
                        </a:cubicBezTo>
                        <a:cubicBezTo>
                          <a:pt x="466" y="15"/>
                          <a:pt x="460" y="32"/>
                          <a:pt x="455" y="40"/>
                        </a:cubicBezTo>
                        <a:cubicBezTo>
                          <a:pt x="447" y="56"/>
                          <a:pt x="442" y="83"/>
                          <a:pt x="427" y="99"/>
                        </a:cubicBezTo>
                        <a:cubicBezTo>
                          <a:pt x="413" y="115"/>
                          <a:pt x="419" y="102"/>
                          <a:pt x="406" y="112"/>
                        </a:cubicBezTo>
                        <a:cubicBezTo>
                          <a:pt x="393" y="121"/>
                          <a:pt x="381" y="144"/>
                          <a:pt x="364" y="144"/>
                        </a:cubicBezTo>
                        <a:cubicBezTo>
                          <a:pt x="347" y="144"/>
                          <a:pt x="348" y="160"/>
                          <a:pt x="341" y="168"/>
                        </a:cubicBezTo>
                        <a:cubicBezTo>
                          <a:pt x="333" y="175"/>
                          <a:pt x="311" y="196"/>
                          <a:pt x="311" y="196"/>
                        </a:cubicBezTo>
                        <a:cubicBezTo>
                          <a:pt x="249" y="158"/>
                          <a:pt x="249" y="158"/>
                          <a:pt x="249" y="158"/>
                        </a:cubicBezTo>
                        <a:cubicBezTo>
                          <a:pt x="205" y="178"/>
                          <a:pt x="205" y="178"/>
                          <a:pt x="205" y="178"/>
                        </a:cubicBezTo>
                        <a:cubicBezTo>
                          <a:pt x="205" y="178"/>
                          <a:pt x="202" y="196"/>
                          <a:pt x="188" y="216"/>
                        </a:cubicBezTo>
                        <a:cubicBezTo>
                          <a:pt x="174" y="235"/>
                          <a:pt x="145" y="262"/>
                          <a:pt x="145" y="262"/>
                        </a:cubicBezTo>
                        <a:cubicBezTo>
                          <a:pt x="105" y="278"/>
                          <a:pt x="105" y="278"/>
                          <a:pt x="105" y="278"/>
                        </a:cubicBezTo>
                        <a:cubicBezTo>
                          <a:pt x="105" y="278"/>
                          <a:pt x="97" y="308"/>
                          <a:pt x="97" y="310"/>
                        </a:cubicBezTo>
                        <a:cubicBezTo>
                          <a:pt x="97" y="312"/>
                          <a:pt x="97" y="320"/>
                          <a:pt x="99" y="333"/>
                        </a:cubicBezTo>
                        <a:cubicBezTo>
                          <a:pt x="101" y="346"/>
                          <a:pt x="139" y="358"/>
                          <a:pt x="144" y="364"/>
                        </a:cubicBezTo>
                        <a:cubicBezTo>
                          <a:pt x="149" y="369"/>
                          <a:pt x="147" y="397"/>
                          <a:pt x="147" y="397"/>
                        </a:cubicBezTo>
                        <a:cubicBezTo>
                          <a:pt x="114" y="398"/>
                          <a:pt x="114" y="398"/>
                          <a:pt x="114" y="398"/>
                        </a:cubicBezTo>
                        <a:cubicBezTo>
                          <a:pt x="114" y="398"/>
                          <a:pt x="115" y="394"/>
                          <a:pt x="101" y="370"/>
                        </a:cubicBezTo>
                        <a:cubicBezTo>
                          <a:pt x="87" y="346"/>
                          <a:pt x="75" y="364"/>
                          <a:pt x="71" y="365"/>
                        </a:cubicBezTo>
                        <a:cubicBezTo>
                          <a:pt x="67" y="366"/>
                          <a:pt x="63" y="412"/>
                          <a:pt x="59" y="418"/>
                        </a:cubicBezTo>
                        <a:cubicBezTo>
                          <a:pt x="54" y="425"/>
                          <a:pt x="68" y="438"/>
                          <a:pt x="71" y="442"/>
                        </a:cubicBezTo>
                        <a:cubicBezTo>
                          <a:pt x="75" y="446"/>
                          <a:pt x="58" y="462"/>
                          <a:pt x="46" y="482"/>
                        </a:cubicBezTo>
                        <a:cubicBezTo>
                          <a:pt x="34" y="501"/>
                          <a:pt x="8" y="520"/>
                          <a:pt x="8" y="520"/>
                        </a:cubicBezTo>
                        <a:cubicBezTo>
                          <a:pt x="0" y="600"/>
                          <a:pt x="0" y="600"/>
                          <a:pt x="0" y="600"/>
                        </a:cubicBezTo>
                        <a:cubicBezTo>
                          <a:pt x="35" y="630"/>
                          <a:pt x="35" y="630"/>
                          <a:pt x="35" y="630"/>
                        </a:cubicBezTo>
                        <a:cubicBezTo>
                          <a:pt x="35" y="630"/>
                          <a:pt x="60" y="680"/>
                          <a:pt x="60" y="694"/>
                        </a:cubicBezTo>
                        <a:cubicBezTo>
                          <a:pt x="60" y="709"/>
                          <a:pt x="95" y="731"/>
                          <a:pt x="95" y="731"/>
                        </a:cubicBezTo>
                        <a:cubicBezTo>
                          <a:pt x="165" y="732"/>
                          <a:pt x="165" y="732"/>
                          <a:pt x="165" y="732"/>
                        </a:cubicBezTo>
                        <a:cubicBezTo>
                          <a:pt x="165" y="732"/>
                          <a:pt x="179" y="738"/>
                          <a:pt x="186" y="748"/>
                        </a:cubicBezTo>
                        <a:cubicBezTo>
                          <a:pt x="193" y="757"/>
                          <a:pt x="227" y="760"/>
                          <a:pt x="244" y="759"/>
                        </a:cubicBezTo>
                        <a:cubicBezTo>
                          <a:pt x="261" y="758"/>
                          <a:pt x="267" y="771"/>
                          <a:pt x="281" y="779"/>
                        </a:cubicBezTo>
                        <a:cubicBezTo>
                          <a:pt x="294" y="787"/>
                          <a:pt x="282" y="918"/>
                          <a:pt x="282" y="918"/>
                        </a:cubicBezTo>
                        <a:cubicBezTo>
                          <a:pt x="282" y="918"/>
                          <a:pt x="320" y="946"/>
                          <a:pt x="318" y="951"/>
                        </a:cubicBezTo>
                        <a:cubicBezTo>
                          <a:pt x="316" y="956"/>
                          <a:pt x="299" y="989"/>
                          <a:pt x="288" y="1000"/>
                        </a:cubicBezTo>
                        <a:cubicBezTo>
                          <a:pt x="277" y="1010"/>
                          <a:pt x="275" y="1036"/>
                          <a:pt x="273" y="1039"/>
                        </a:cubicBezTo>
                        <a:cubicBezTo>
                          <a:pt x="271" y="1042"/>
                          <a:pt x="185" y="1084"/>
                          <a:pt x="175" y="1091"/>
                        </a:cubicBezTo>
                        <a:cubicBezTo>
                          <a:pt x="165" y="1098"/>
                          <a:pt x="171" y="1108"/>
                          <a:pt x="180" y="1118"/>
                        </a:cubicBezTo>
                        <a:cubicBezTo>
                          <a:pt x="189" y="1129"/>
                          <a:pt x="231" y="1148"/>
                          <a:pt x="241" y="1160"/>
                        </a:cubicBezTo>
                        <a:cubicBezTo>
                          <a:pt x="251" y="1172"/>
                          <a:pt x="289" y="1189"/>
                          <a:pt x="320" y="1206"/>
                        </a:cubicBezTo>
                        <a:cubicBezTo>
                          <a:pt x="351" y="1222"/>
                          <a:pt x="397" y="1262"/>
                          <a:pt x="397" y="1272"/>
                        </a:cubicBezTo>
                        <a:cubicBezTo>
                          <a:pt x="397" y="1282"/>
                          <a:pt x="431" y="1306"/>
                          <a:pt x="431" y="1306"/>
                        </a:cubicBezTo>
                        <a:cubicBezTo>
                          <a:pt x="417" y="1335"/>
                          <a:pt x="417" y="1335"/>
                          <a:pt x="417" y="1335"/>
                        </a:cubicBezTo>
                        <a:cubicBezTo>
                          <a:pt x="417" y="1335"/>
                          <a:pt x="421" y="1393"/>
                          <a:pt x="419" y="1409"/>
                        </a:cubicBezTo>
                        <a:cubicBezTo>
                          <a:pt x="418" y="1421"/>
                          <a:pt x="440" y="1498"/>
                          <a:pt x="452" y="1540"/>
                        </a:cubicBezTo>
                        <a:cubicBezTo>
                          <a:pt x="494" y="1546"/>
                          <a:pt x="572" y="1560"/>
                          <a:pt x="574" y="1560"/>
                        </a:cubicBezTo>
                        <a:cubicBezTo>
                          <a:pt x="576" y="1560"/>
                          <a:pt x="689" y="1556"/>
                          <a:pt x="693" y="1563"/>
                        </a:cubicBezTo>
                        <a:cubicBezTo>
                          <a:pt x="697" y="1570"/>
                          <a:pt x="692" y="1577"/>
                          <a:pt x="704" y="1578"/>
                        </a:cubicBezTo>
                        <a:cubicBezTo>
                          <a:pt x="715" y="1579"/>
                          <a:pt x="730" y="1580"/>
                          <a:pt x="741" y="1587"/>
                        </a:cubicBezTo>
                        <a:cubicBezTo>
                          <a:pt x="752" y="1594"/>
                          <a:pt x="761" y="1605"/>
                          <a:pt x="769" y="1599"/>
                        </a:cubicBezTo>
                        <a:cubicBezTo>
                          <a:pt x="776" y="1594"/>
                          <a:pt x="778" y="1589"/>
                          <a:pt x="787" y="1588"/>
                        </a:cubicBezTo>
                        <a:cubicBezTo>
                          <a:pt x="796" y="1586"/>
                          <a:pt x="821" y="1586"/>
                          <a:pt x="825" y="1583"/>
                        </a:cubicBezTo>
                        <a:cubicBezTo>
                          <a:pt x="827" y="1581"/>
                          <a:pt x="838" y="1563"/>
                          <a:pt x="851" y="1553"/>
                        </a:cubicBezTo>
                        <a:cubicBezTo>
                          <a:pt x="855" y="1550"/>
                          <a:pt x="860" y="1547"/>
                          <a:pt x="865" y="1547"/>
                        </a:cubicBezTo>
                        <a:cubicBezTo>
                          <a:pt x="882" y="1546"/>
                          <a:pt x="917" y="1543"/>
                          <a:pt x="920" y="1543"/>
                        </a:cubicBezTo>
                        <a:cubicBezTo>
                          <a:pt x="922" y="1543"/>
                          <a:pt x="957" y="1544"/>
                          <a:pt x="968" y="1536"/>
                        </a:cubicBezTo>
                        <a:cubicBezTo>
                          <a:pt x="978" y="1527"/>
                          <a:pt x="985" y="1523"/>
                          <a:pt x="999" y="1523"/>
                        </a:cubicBezTo>
                        <a:cubicBezTo>
                          <a:pt x="1014" y="1523"/>
                          <a:pt x="1034" y="1517"/>
                          <a:pt x="1044" y="1511"/>
                        </a:cubicBezTo>
                        <a:cubicBezTo>
                          <a:pt x="1055" y="1506"/>
                          <a:pt x="1088" y="1482"/>
                          <a:pt x="1096" y="1480"/>
                        </a:cubicBezTo>
                        <a:cubicBezTo>
                          <a:pt x="1105" y="1479"/>
                          <a:pt x="1111" y="1478"/>
                          <a:pt x="1123" y="1468"/>
                        </a:cubicBezTo>
                        <a:cubicBezTo>
                          <a:pt x="1135" y="1457"/>
                          <a:pt x="1156" y="1441"/>
                          <a:pt x="1164" y="1432"/>
                        </a:cubicBezTo>
                        <a:cubicBezTo>
                          <a:pt x="1172" y="1424"/>
                          <a:pt x="1183" y="1416"/>
                          <a:pt x="1187" y="1406"/>
                        </a:cubicBezTo>
                        <a:cubicBezTo>
                          <a:pt x="1191" y="1396"/>
                          <a:pt x="1183" y="1396"/>
                          <a:pt x="1193" y="1386"/>
                        </a:cubicBezTo>
                        <a:cubicBezTo>
                          <a:pt x="1204" y="1376"/>
                          <a:pt x="1209" y="1369"/>
                          <a:pt x="1210" y="1369"/>
                        </a:cubicBezTo>
                        <a:cubicBezTo>
                          <a:pt x="1212" y="1368"/>
                          <a:pt x="1213" y="1313"/>
                          <a:pt x="1212" y="1305"/>
                        </a:cubicBezTo>
                        <a:cubicBezTo>
                          <a:pt x="1211" y="1298"/>
                          <a:pt x="1202" y="1293"/>
                          <a:pt x="1203" y="1286"/>
                        </a:cubicBezTo>
                        <a:cubicBezTo>
                          <a:pt x="1204" y="1279"/>
                          <a:pt x="1194" y="1206"/>
                          <a:pt x="1192" y="1193"/>
                        </a:cubicBezTo>
                        <a:cubicBezTo>
                          <a:pt x="1189" y="1181"/>
                          <a:pt x="1179" y="1140"/>
                          <a:pt x="1179" y="1140"/>
                        </a:cubicBezTo>
                        <a:cubicBezTo>
                          <a:pt x="1179" y="1140"/>
                          <a:pt x="1179" y="1139"/>
                          <a:pt x="1179" y="1137"/>
                        </a:cubicBezTo>
                        <a:cubicBezTo>
                          <a:pt x="1179" y="1129"/>
                          <a:pt x="1178" y="1105"/>
                          <a:pt x="1159" y="1087"/>
                        </a:cubicBezTo>
                        <a:cubicBezTo>
                          <a:pt x="1135" y="1064"/>
                          <a:pt x="1139" y="1046"/>
                          <a:pt x="1129" y="1042"/>
                        </a:cubicBezTo>
                        <a:cubicBezTo>
                          <a:pt x="1119" y="1037"/>
                          <a:pt x="1087" y="1027"/>
                          <a:pt x="1084" y="1027"/>
                        </a:cubicBezTo>
                        <a:cubicBezTo>
                          <a:pt x="1082" y="1027"/>
                          <a:pt x="1068" y="1006"/>
                          <a:pt x="1063" y="1006"/>
                        </a:cubicBezTo>
                        <a:cubicBezTo>
                          <a:pt x="1058" y="1006"/>
                          <a:pt x="1038" y="1002"/>
                          <a:pt x="1033" y="996"/>
                        </a:cubicBezTo>
                        <a:cubicBezTo>
                          <a:pt x="1028" y="991"/>
                          <a:pt x="1002" y="984"/>
                          <a:pt x="1002" y="971"/>
                        </a:cubicBezTo>
                        <a:cubicBezTo>
                          <a:pt x="1002" y="959"/>
                          <a:pt x="991" y="945"/>
                          <a:pt x="988" y="938"/>
                        </a:cubicBezTo>
                        <a:cubicBezTo>
                          <a:pt x="986" y="931"/>
                          <a:pt x="951" y="903"/>
                          <a:pt x="948" y="903"/>
                        </a:cubicBezTo>
                        <a:cubicBezTo>
                          <a:pt x="946" y="903"/>
                          <a:pt x="938" y="898"/>
                          <a:pt x="938" y="898"/>
                        </a:cubicBezTo>
                        <a:cubicBezTo>
                          <a:pt x="940" y="866"/>
                          <a:pt x="940" y="866"/>
                          <a:pt x="940" y="866"/>
                        </a:cubicBezTo>
                        <a:cubicBezTo>
                          <a:pt x="940" y="866"/>
                          <a:pt x="948" y="850"/>
                          <a:pt x="956" y="841"/>
                        </a:cubicBezTo>
                        <a:cubicBezTo>
                          <a:pt x="965" y="831"/>
                          <a:pt x="975" y="817"/>
                          <a:pt x="982" y="814"/>
                        </a:cubicBezTo>
                        <a:cubicBezTo>
                          <a:pt x="988" y="810"/>
                          <a:pt x="1008" y="794"/>
                          <a:pt x="1020" y="790"/>
                        </a:cubicBezTo>
                        <a:cubicBezTo>
                          <a:pt x="1032" y="786"/>
                          <a:pt x="1044" y="795"/>
                          <a:pt x="1057" y="786"/>
                        </a:cubicBezTo>
                        <a:cubicBezTo>
                          <a:pt x="1071" y="776"/>
                          <a:pt x="1096" y="758"/>
                          <a:pt x="1093" y="749"/>
                        </a:cubicBezTo>
                        <a:cubicBezTo>
                          <a:pt x="1091" y="739"/>
                          <a:pt x="1085" y="717"/>
                          <a:pt x="1075" y="713"/>
                        </a:cubicBezTo>
                        <a:cubicBezTo>
                          <a:pt x="1065" y="710"/>
                          <a:pt x="1023" y="685"/>
                          <a:pt x="1006" y="682"/>
                        </a:cubicBezTo>
                        <a:cubicBezTo>
                          <a:pt x="989" y="679"/>
                          <a:pt x="951" y="684"/>
                          <a:pt x="952" y="669"/>
                        </a:cubicBezTo>
                        <a:cubicBezTo>
                          <a:pt x="953" y="661"/>
                          <a:pt x="950" y="653"/>
                          <a:pt x="947" y="647"/>
                        </a:cubicBezTo>
                        <a:cubicBezTo>
                          <a:pt x="944" y="641"/>
                          <a:pt x="941" y="637"/>
                          <a:pt x="940" y="635"/>
                        </a:cubicBezTo>
                        <a:cubicBezTo>
                          <a:pt x="938" y="632"/>
                          <a:pt x="934" y="626"/>
                          <a:pt x="934" y="626"/>
                        </a:cubicBezTo>
                        <a:close/>
                      </a:path>
                    </a:pathLst>
                  </a:custGeom>
                  <a:solidFill>
                    <a:srgbClr val="FFFF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522">
                    <a:extLst>
                      <a:ext uri="{FF2B5EF4-FFF2-40B4-BE49-F238E27FC236}">
                        <a16:creationId xmlns:a16="http://schemas.microsoft.com/office/drawing/2014/main" id="{D1CFF342-8D68-B71A-6994-B48516636997}"/>
                      </a:ext>
                    </a:extLst>
                  </p:cNvPr>
                  <p:cNvSpPr>
                    <a:spLocks noChangeAspect="1"/>
                  </p:cNvSpPr>
                  <p:nvPr/>
                </p:nvSpPr>
                <p:spPr bwMode="auto">
                  <a:xfrm>
                    <a:off x="6058338" y="4784022"/>
                    <a:ext cx="371359" cy="375865"/>
                  </a:xfrm>
                  <a:custGeom>
                    <a:avLst/>
                    <a:gdLst>
                      <a:gd name="T0" fmla="*/ 237 w 947"/>
                      <a:gd name="T1" fmla="*/ 114 h 959"/>
                      <a:gd name="T2" fmla="*/ 179 w 947"/>
                      <a:gd name="T3" fmla="*/ 112 h 959"/>
                      <a:gd name="T4" fmla="*/ 174 w 947"/>
                      <a:gd name="T5" fmla="*/ 148 h 959"/>
                      <a:gd name="T6" fmla="*/ 202 w 947"/>
                      <a:gd name="T7" fmla="*/ 254 h 959"/>
                      <a:gd name="T8" fmla="*/ 203 w 947"/>
                      <a:gd name="T9" fmla="*/ 360 h 959"/>
                      <a:gd name="T10" fmla="*/ 167 w 947"/>
                      <a:gd name="T11" fmla="*/ 432 h 959"/>
                      <a:gd name="T12" fmla="*/ 194 w 947"/>
                      <a:gd name="T13" fmla="*/ 491 h 959"/>
                      <a:gd name="T14" fmla="*/ 245 w 947"/>
                      <a:gd name="T15" fmla="*/ 561 h 959"/>
                      <a:gd name="T16" fmla="*/ 221 w 947"/>
                      <a:gd name="T17" fmla="*/ 641 h 959"/>
                      <a:gd name="T18" fmla="*/ 211 w 947"/>
                      <a:gd name="T19" fmla="*/ 725 h 959"/>
                      <a:gd name="T20" fmla="*/ 194 w 947"/>
                      <a:gd name="T21" fmla="*/ 770 h 959"/>
                      <a:gd name="T22" fmla="*/ 170 w 947"/>
                      <a:gd name="T23" fmla="*/ 757 h 959"/>
                      <a:gd name="T24" fmla="*/ 117 w 947"/>
                      <a:gd name="T25" fmla="*/ 712 h 959"/>
                      <a:gd name="T26" fmla="*/ 62 w 947"/>
                      <a:gd name="T27" fmla="*/ 699 h 959"/>
                      <a:gd name="T28" fmla="*/ 32 w 947"/>
                      <a:gd name="T29" fmla="*/ 704 h 959"/>
                      <a:gd name="T30" fmla="*/ 16 w 947"/>
                      <a:gd name="T31" fmla="*/ 743 h 959"/>
                      <a:gd name="T32" fmla="*/ 10 w 947"/>
                      <a:gd name="T33" fmla="*/ 814 h 959"/>
                      <a:gd name="T34" fmla="*/ 75 w 947"/>
                      <a:gd name="T35" fmla="*/ 834 h 959"/>
                      <a:gd name="T36" fmla="*/ 144 w 947"/>
                      <a:gd name="T37" fmla="*/ 827 h 959"/>
                      <a:gd name="T38" fmla="*/ 232 w 947"/>
                      <a:gd name="T39" fmla="*/ 853 h 959"/>
                      <a:gd name="T40" fmla="*/ 262 w 947"/>
                      <a:gd name="T41" fmla="*/ 930 h 959"/>
                      <a:gd name="T42" fmla="*/ 339 w 947"/>
                      <a:gd name="T43" fmla="*/ 959 h 959"/>
                      <a:gd name="T44" fmla="*/ 358 w 947"/>
                      <a:gd name="T45" fmla="*/ 921 h 959"/>
                      <a:gd name="T46" fmla="*/ 391 w 947"/>
                      <a:gd name="T47" fmla="*/ 883 h 959"/>
                      <a:gd name="T48" fmla="*/ 383 w 947"/>
                      <a:gd name="T49" fmla="*/ 829 h 959"/>
                      <a:gd name="T50" fmla="*/ 432 w 947"/>
                      <a:gd name="T51" fmla="*/ 724 h 959"/>
                      <a:gd name="T52" fmla="*/ 462 w 947"/>
                      <a:gd name="T53" fmla="*/ 668 h 959"/>
                      <a:gd name="T54" fmla="*/ 502 w 947"/>
                      <a:gd name="T55" fmla="*/ 674 h 959"/>
                      <a:gd name="T56" fmla="*/ 545 w 947"/>
                      <a:gd name="T57" fmla="*/ 708 h 959"/>
                      <a:gd name="T58" fmla="*/ 592 w 947"/>
                      <a:gd name="T59" fmla="*/ 740 h 959"/>
                      <a:gd name="T60" fmla="*/ 656 w 947"/>
                      <a:gd name="T61" fmla="*/ 690 h 959"/>
                      <a:gd name="T62" fmla="*/ 736 w 947"/>
                      <a:gd name="T63" fmla="*/ 683 h 959"/>
                      <a:gd name="T64" fmla="*/ 727 w 947"/>
                      <a:gd name="T65" fmla="*/ 585 h 959"/>
                      <a:gd name="T66" fmla="*/ 755 w 947"/>
                      <a:gd name="T67" fmla="*/ 546 h 959"/>
                      <a:gd name="T68" fmla="*/ 800 w 947"/>
                      <a:gd name="T69" fmla="*/ 506 h 959"/>
                      <a:gd name="T70" fmla="*/ 825 w 947"/>
                      <a:gd name="T71" fmla="*/ 482 h 959"/>
                      <a:gd name="T72" fmla="*/ 868 w 947"/>
                      <a:gd name="T73" fmla="*/ 419 h 959"/>
                      <a:gd name="T74" fmla="*/ 937 w 947"/>
                      <a:gd name="T75" fmla="*/ 401 h 959"/>
                      <a:gd name="T76" fmla="*/ 902 w 947"/>
                      <a:gd name="T77" fmla="*/ 345 h 959"/>
                      <a:gd name="T78" fmla="*/ 867 w 947"/>
                      <a:gd name="T79" fmla="*/ 273 h 959"/>
                      <a:gd name="T80" fmla="*/ 838 w 947"/>
                      <a:gd name="T81" fmla="*/ 198 h 959"/>
                      <a:gd name="T82" fmla="*/ 799 w 947"/>
                      <a:gd name="T83" fmla="*/ 173 h 959"/>
                      <a:gd name="T84" fmla="*/ 776 w 947"/>
                      <a:gd name="T85" fmla="*/ 137 h 959"/>
                      <a:gd name="T86" fmla="*/ 750 w 947"/>
                      <a:gd name="T87" fmla="*/ 94 h 959"/>
                      <a:gd name="T88" fmla="*/ 718 w 947"/>
                      <a:gd name="T89" fmla="*/ 50 h 959"/>
                      <a:gd name="T90" fmla="*/ 692 w 947"/>
                      <a:gd name="T91" fmla="*/ 0 h 959"/>
                      <a:gd name="T92" fmla="*/ 635 w 947"/>
                      <a:gd name="T93" fmla="*/ 10 h 959"/>
                      <a:gd name="T94" fmla="*/ 557 w 947"/>
                      <a:gd name="T95" fmla="*/ 58 h 959"/>
                      <a:gd name="T96" fmla="*/ 463 w 947"/>
                      <a:gd name="T97" fmla="*/ 99 h 959"/>
                      <a:gd name="T98" fmla="*/ 444 w 947"/>
                      <a:gd name="T99" fmla="*/ 224 h 959"/>
                      <a:gd name="T100" fmla="*/ 383 w 947"/>
                      <a:gd name="T101" fmla="*/ 194 h 959"/>
                      <a:gd name="T102" fmla="*/ 339 w 947"/>
                      <a:gd name="T103" fmla="*/ 144 h 959"/>
                      <a:gd name="T104" fmla="*/ 280 w 947"/>
                      <a:gd name="T105" fmla="*/ 104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7" h="959">
                        <a:moveTo>
                          <a:pt x="280" y="104"/>
                        </a:moveTo>
                        <a:cubicBezTo>
                          <a:pt x="259" y="105"/>
                          <a:pt x="250" y="114"/>
                          <a:pt x="237" y="114"/>
                        </a:cubicBezTo>
                        <a:cubicBezTo>
                          <a:pt x="225" y="114"/>
                          <a:pt x="207" y="123"/>
                          <a:pt x="201" y="122"/>
                        </a:cubicBezTo>
                        <a:cubicBezTo>
                          <a:pt x="195" y="120"/>
                          <a:pt x="186" y="111"/>
                          <a:pt x="179" y="112"/>
                        </a:cubicBezTo>
                        <a:cubicBezTo>
                          <a:pt x="172" y="112"/>
                          <a:pt x="157" y="122"/>
                          <a:pt x="157" y="129"/>
                        </a:cubicBezTo>
                        <a:cubicBezTo>
                          <a:pt x="157" y="136"/>
                          <a:pt x="166" y="141"/>
                          <a:pt x="174" y="148"/>
                        </a:cubicBezTo>
                        <a:cubicBezTo>
                          <a:pt x="182" y="155"/>
                          <a:pt x="182" y="179"/>
                          <a:pt x="190" y="196"/>
                        </a:cubicBezTo>
                        <a:cubicBezTo>
                          <a:pt x="197" y="213"/>
                          <a:pt x="207" y="243"/>
                          <a:pt x="202" y="254"/>
                        </a:cubicBezTo>
                        <a:cubicBezTo>
                          <a:pt x="197" y="265"/>
                          <a:pt x="193" y="271"/>
                          <a:pt x="193" y="278"/>
                        </a:cubicBezTo>
                        <a:cubicBezTo>
                          <a:pt x="193" y="285"/>
                          <a:pt x="208" y="355"/>
                          <a:pt x="203" y="360"/>
                        </a:cubicBezTo>
                        <a:cubicBezTo>
                          <a:pt x="197" y="365"/>
                          <a:pt x="174" y="404"/>
                          <a:pt x="174" y="411"/>
                        </a:cubicBezTo>
                        <a:cubicBezTo>
                          <a:pt x="174" y="418"/>
                          <a:pt x="167" y="426"/>
                          <a:pt x="167" y="432"/>
                        </a:cubicBezTo>
                        <a:cubicBezTo>
                          <a:pt x="166" y="438"/>
                          <a:pt x="178" y="453"/>
                          <a:pt x="179" y="455"/>
                        </a:cubicBezTo>
                        <a:cubicBezTo>
                          <a:pt x="179" y="457"/>
                          <a:pt x="177" y="484"/>
                          <a:pt x="194" y="491"/>
                        </a:cubicBezTo>
                        <a:cubicBezTo>
                          <a:pt x="211" y="499"/>
                          <a:pt x="231" y="503"/>
                          <a:pt x="236" y="505"/>
                        </a:cubicBezTo>
                        <a:cubicBezTo>
                          <a:pt x="240" y="506"/>
                          <a:pt x="246" y="552"/>
                          <a:pt x="245" y="561"/>
                        </a:cubicBezTo>
                        <a:cubicBezTo>
                          <a:pt x="244" y="570"/>
                          <a:pt x="245" y="612"/>
                          <a:pt x="239" y="618"/>
                        </a:cubicBezTo>
                        <a:cubicBezTo>
                          <a:pt x="233" y="624"/>
                          <a:pt x="221" y="638"/>
                          <a:pt x="221" y="641"/>
                        </a:cubicBezTo>
                        <a:cubicBezTo>
                          <a:pt x="221" y="645"/>
                          <a:pt x="192" y="673"/>
                          <a:pt x="191" y="676"/>
                        </a:cubicBezTo>
                        <a:cubicBezTo>
                          <a:pt x="190" y="678"/>
                          <a:pt x="211" y="725"/>
                          <a:pt x="211" y="725"/>
                        </a:cubicBezTo>
                        <a:cubicBezTo>
                          <a:pt x="211" y="725"/>
                          <a:pt x="214" y="764"/>
                          <a:pt x="208" y="767"/>
                        </a:cubicBezTo>
                        <a:cubicBezTo>
                          <a:pt x="201" y="771"/>
                          <a:pt x="196" y="774"/>
                          <a:pt x="194" y="770"/>
                        </a:cubicBezTo>
                        <a:cubicBezTo>
                          <a:pt x="191" y="767"/>
                          <a:pt x="188" y="760"/>
                          <a:pt x="183" y="760"/>
                        </a:cubicBezTo>
                        <a:cubicBezTo>
                          <a:pt x="178" y="760"/>
                          <a:pt x="171" y="766"/>
                          <a:pt x="170" y="757"/>
                        </a:cubicBezTo>
                        <a:cubicBezTo>
                          <a:pt x="170" y="748"/>
                          <a:pt x="172" y="736"/>
                          <a:pt x="166" y="733"/>
                        </a:cubicBezTo>
                        <a:cubicBezTo>
                          <a:pt x="159" y="731"/>
                          <a:pt x="126" y="725"/>
                          <a:pt x="117" y="712"/>
                        </a:cubicBezTo>
                        <a:cubicBezTo>
                          <a:pt x="109" y="700"/>
                          <a:pt x="112" y="696"/>
                          <a:pt x="92" y="696"/>
                        </a:cubicBezTo>
                        <a:cubicBezTo>
                          <a:pt x="72" y="696"/>
                          <a:pt x="66" y="700"/>
                          <a:pt x="62" y="699"/>
                        </a:cubicBezTo>
                        <a:cubicBezTo>
                          <a:pt x="59" y="698"/>
                          <a:pt x="46" y="690"/>
                          <a:pt x="38" y="684"/>
                        </a:cubicBezTo>
                        <a:cubicBezTo>
                          <a:pt x="39" y="690"/>
                          <a:pt x="39" y="699"/>
                          <a:pt x="32" y="704"/>
                        </a:cubicBezTo>
                        <a:cubicBezTo>
                          <a:pt x="19" y="715"/>
                          <a:pt x="12" y="721"/>
                          <a:pt x="12" y="721"/>
                        </a:cubicBezTo>
                        <a:cubicBezTo>
                          <a:pt x="12" y="721"/>
                          <a:pt x="17" y="740"/>
                          <a:pt x="16" y="743"/>
                        </a:cubicBezTo>
                        <a:cubicBezTo>
                          <a:pt x="16" y="745"/>
                          <a:pt x="4" y="755"/>
                          <a:pt x="4" y="758"/>
                        </a:cubicBezTo>
                        <a:cubicBezTo>
                          <a:pt x="4" y="760"/>
                          <a:pt x="0" y="807"/>
                          <a:pt x="10" y="814"/>
                        </a:cubicBezTo>
                        <a:cubicBezTo>
                          <a:pt x="20" y="821"/>
                          <a:pt x="37" y="827"/>
                          <a:pt x="44" y="827"/>
                        </a:cubicBezTo>
                        <a:cubicBezTo>
                          <a:pt x="51" y="827"/>
                          <a:pt x="63" y="836"/>
                          <a:pt x="75" y="834"/>
                        </a:cubicBezTo>
                        <a:cubicBezTo>
                          <a:pt x="86" y="831"/>
                          <a:pt x="85" y="824"/>
                          <a:pt x="93" y="824"/>
                        </a:cubicBezTo>
                        <a:cubicBezTo>
                          <a:pt x="101" y="824"/>
                          <a:pt x="146" y="821"/>
                          <a:pt x="144" y="827"/>
                        </a:cubicBezTo>
                        <a:cubicBezTo>
                          <a:pt x="143" y="832"/>
                          <a:pt x="132" y="837"/>
                          <a:pt x="147" y="837"/>
                        </a:cubicBezTo>
                        <a:cubicBezTo>
                          <a:pt x="162" y="838"/>
                          <a:pt x="227" y="823"/>
                          <a:pt x="232" y="853"/>
                        </a:cubicBezTo>
                        <a:cubicBezTo>
                          <a:pt x="238" y="882"/>
                          <a:pt x="240" y="904"/>
                          <a:pt x="240" y="904"/>
                        </a:cubicBezTo>
                        <a:cubicBezTo>
                          <a:pt x="240" y="904"/>
                          <a:pt x="261" y="926"/>
                          <a:pt x="262" y="930"/>
                        </a:cubicBezTo>
                        <a:cubicBezTo>
                          <a:pt x="263" y="935"/>
                          <a:pt x="272" y="955"/>
                          <a:pt x="298" y="958"/>
                        </a:cubicBezTo>
                        <a:cubicBezTo>
                          <a:pt x="313" y="959"/>
                          <a:pt x="329" y="959"/>
                          <a:pt x="339" y="959"/>
                        </a:cubicBezTo>
                        <a:cubicBezTo>
                          <a:pt x="337" y="956"/>
                          <a:pt x="336" y="952"/>
                          <a:pt x="338" y="946"/>
                        </a:cubicBezTo>
                        <a:cubicBezTo>
                          <a:pt x="343" y="932"/>
                          <a:pt x="351" y="929"/>
                          <a:pt x="358" y="921"/>
                        </a:cubicBezTo>
                        <a:cubicBezTo>
                          <a:pt x="366" y="912"/>
                          <a:pt x="363" y="888"/>
                          <a:pt x="373" y="888"/>
                        </a:cubicBezTo>
                        <a:cubicBezTo>
                          <a:pt x="384" y="888"/>
                          <a:pt x="385" y="891"/>
                          <a:pt x="391" y="883"/>
                        </a:cubicBezTo>
                        <a:cubicBezTo>
                          <a:pt x="397" y="876"/>
                          <a:pt x="399" y="871"/>
                          <a:pt x="397" y="867"/>
                        </a:cubicBezTo>
                        <a:cubicBezTo>
                          <a:pt x="396" y="863"/>
                          <a:pt x="376" y="834"/>
                          <a:pt x="383" y="829"/>
                        </a:cubicBezTo>
                        <a:cubicBezTo>
                          <a:pt x="390" y="824"/>
                          <a:pt x="398" y="823"/>
                          <a:pt x="410" y="810"/>
                        </a:cubicBezTo>
                        <a:cubicBezTo>
                          <a:pt x="423" y="796"/>
                          <a:pt x="429" y="736"/>
                          <a:pt x="432" y="724"/>
                        </a:cubicBezTo>
                        <a:cubicBezTo>
                          <a:pt x="436" y="711"/>
                          <a:pt x="431" y="702"/>
                          <a:pt x="429" y="692"/>
                        </a:cubicBezTo>
                        <a:cubicBezTo>
                          <a:pt x="427" y="681"/>
                          <a:pt x="438" y="664"/>
                          <a:pt x="462" y="668"/>
                        </a:cubicBezTo>
                        <a:cubicBezTo>
                          <a:pt x="487" y="671"/>
                          <a:pt x="497" y="688"/>
                          <a:pt x="497" y="688"/>
                        </a:cubicBezTo>
                        <a:cubicBezTo>
                          <a:pt x="497" y="688"/>
                          <a:pt x="500" y="673"/>
                          <a:pt x="502" y="674"/>
                        </a:cubicBezTo>
                        <a:cubicBezTo>
                          <a:pt x="504" y="674"/>
                          <a:pt x="528" y="667"/>
                          <a:pt x="535" y="683"/>
                        </a:cubicBezTo>
                        <a:cubicBezTo>
                          <a:pt x="542" y="699"/>
                          <a:pt x="545" y="708"/>
                          <a:pt x="545" y="708"/>
                        </a:cubicBezTo>
                        <a:cubicBezTo>
                          <a:pt x="545" y="708"/>
                          <a:pt x="555" y="718"/>
                          <a:pt x="565" y="724"/>
                        </a:cubicBezTo>
                        <a:cubicBezTo>
                          <a:pt x="576" y="729"/>
                          <a:pt x="581" y="742"/>
                          <a:pt x="592" y="740"/>
                        </a:cubicBezTo>
                        <a:cubicBezTo>
                          <a:pt x="604" y="737"/>
                          <a:pt x="604" y="737"/>
                          <a:pt x="620" y="721"/>
                        </a:cubicBezTo>
                        <a:cubicBezTo>
                          <a:pt x="635" y="705"/>
                          <a:pt x="651" y="690"/>
                          <a:pt x="656" y="690"/>
                        </a:cubicBezTo>
                        <a:cubicBezTo>
                          <a:pt x="661" y="689"/>
                          <a:pt x="673" y="662"/>
                          <a:pt x="687" y="666"/>
                        </a:cubicBezTo>
                        <a:cubicBezTo>
                          <a:pt x="700" y="671"/>
                          <a:pt x="731" y="691"/>
                          <a:pt x="736" y="683"/>
                        </a:cubicBezTo>
                        <a:cubicBezTo>
                          <a:pt x="741" y="675"/>
                          <a:pt x="739" y="657"/>
                          <a:pt x="739" y="635"/>
                        </a:cubicBezTo>
                        <a:cubicBezTo>
                          <a:pt x="738" y="613"/>
                          <a:pt x="730" y="591"/>
                          <a:pt x="727" y="585"/>
                        </a:cubicBezTo>
                        <a:cubicBezTo>
                          <a:pt x="723" y="579"/>
                          <a:pt x="731" y="555"/>
                          <a:pt x="737" y="553"/>
                        </a:cubicBezTo>
                        <a:cubicBezTo>
                          <a:pt x="744" y="551"/>
                          <a:pt x="751" y="554"/>
                          <a:pt x="755" y="546"/>
                        </a:cubicBezTo>
                        <a:cubicBezTo>
                          <a:pt x="758" y="538"/>
                          <a:pt x="753" y="532"/>
                          <a:pt x="764" y="523"/>
                        </a:cubicBezTo>
                        <a:cubicBezTo>
                          <a:pt x="775" y="515"/>
                          <a:pt x="788" y="520"/>
                          <a:pt x="800" y="506"/>
                        </a:cubicBezTo>
                        <a:cubicBezTo>
                          <a:pt x="811" y="493"/>
                          <a:pt x="813" y="491"/>
                          <a:pt x="816" y="488"/>
                        </a:cubicBezTo>
                        <a:cubicBezTo>
                          <a:pt x="818" y="484"/>
                          <a:pt x="821" y="494"/>
                          <a:pt x="825" y="482"/>
                        </a:cubicBezTo>
                        <a:cubicBezTo>
                          <a:pt x="829" y="469"/>
                          <a:pt x="841" y="442"/>
                          <a:pt x="841" y="442"/>
                        </a:cubicBezTo>
                        <a:cubicBezTo>
                          <a:pt x="868" y="419"/>
                          <a:pt x="868" y="419"/>
                          <a:pt x="868" y="419"/>
                        </a:cubicBezTo>
                        <a:cubicBezTo>
                          <a:pt x="868" y="419"/>
                          <a:pt x="932" y="421"/>
                          <a:pt x="932" y="418"/>
                        </a:cubicBezTo>
                        <a:cubicBezTo>
                          <a:pt x="933" y="415"/>
                          <a:pt x="937" y="401"/>
                          <a:pt x="937" y="401"/>
                        </a:cubicBezTo>
                        <a:cubicBezTo>
                          <a:pt x="937" y="401"/>
                          <a:pt x="947" y="380"/>
                          <a:pt x="932" y="368"/>
                        </a:cubicBezTo>
                        <a:cubicBezTo>
                          <a:pt x="916" y="356"/>
                          <a:pt x="902" y="352"/>
                          <a:pt x="902" y="345"/>
                        </a:cubicBezTo>
                        <a:cubicBezTo>
                          <a:pt x="902" y="337"/>
                          <a:pt x="898" y="319"/>
                          <a:pt x="895" y="312"/>
                        </a:cubicBezTo>
                        <a:cubicBezTo>
                          <a:pt x="892" y="306"/>
                          <a:pt x="869" y="282"/>
                          <a:pt x="867" y="273"/>
                        </a:cubicBezTo>
                        <a:cubicBezTo>
                          <a:pt x="865" y="263"/>
                          <a:pt x="865" y="227"/>
                          <a:pt x="865" y="227"/>
                        </a:cubicBezTo>
                        <a:cubicBezTo>
                          <a:pt x="865" y="227"/>
                          <a:pt x="845" y="208"/>
                          <a:pt x="838" y="198"/>
                        </a:cubicBezTo>
                        <a:cubicBezTo>
                          <a:pt x="831" y="188"/>
                          <a:pt x="824" y="179"/>
                          <a:pt x="818" y="179"/>
                        </a:cubicBezTo>
                        <a:cubicBezTo>
                          <a:pt x="813" y="179"/>
                          <a:pt x="799" y="179"/>
                          <a:pt x="799" y="173"/>
                        </a:cubicBezTo>
                        <a:cubicBezTo>
                          <a:pt x="799" y="168"/>
                          <a:pt x="796" y="156"/>
                          <a:pt x="794" y="153"/>
                        </a:cubicBezTo>
                        <a:cubicBezTo>
                          <a:pt x="792" y="151"/>
                          <a:pt x="782" y="144"/>
                          <a:pt x="776" y="137"/>
                        </a:cubicBezTo>
                        <a:cubicBezTo>
                          <a:pt x="774" y="134"/>
                          <a:pt x="773" y="132"/>
                          <a:pt x="772" y="129"/>
                        </a:cubicBezTo>
                        <a:cubicBezTo>
                          <a:pt x="770" y="121"/>
                          <a:pt x="751" y="99"/>
                          <a:pt x="750" y="94"/>
                        </a:cubicBezTo>
                        <a:cubicBezTo>
                          <a:pt x="749" y="90"/>
                          <a:pt x="746" y="72"/>
                          <a:pt x="742" y="67"/>
                        </a:cubicBezTo>
                        <a:cubicBezTo>
                          <a:pt x="738" y="62"/>
                          <a:pt x="717" y="58"/>
                          <a:pt x="718" y="50"/>
                        </a:cubicBezTo>
                        <a:cubicBezTo>
                          <a:pt x="719" y="42"/>
                          <a:pt x="722" y="28"/>
                          <a:pt x="719" y="24"/>
                        </a:cubicBezTo>
                        <a:cubicBezTo>
                          <a:pt x="715" y="20"/>
                          <a:pt x="712" y="0"/>
                          <a:pt x="692" y="0"/>
                        </a:cubicBezTo>
                        <a:cubicBezTo>
                          <a:pt x="671" y="0"/>
                          <a:pt x="661" y="10"/>
                          <a:pt x="661" y="10"/>
                        </a:cubicBezTo>
                        <a:cubicBezTo>
                          <a:pt x="635" y="10"/>
                          <a:pt x="635" y="10"/>
                          <a:pt x="635" y="10"/>
                        </a:cubicBezTo>
                        <a:cubicBezTo>
                          <a:pt x="635" y="10"/>
                          <a:pt x="606" y="28"/>
                          <a:pt x="590" y="39"/>
                        </a:cubicBezTo>
                        <a:cubicBezTo>
                          <a:pt x="573" y="51"/>
                          <a:pt x="576" y="59"/>
                          <a:pt x="557" y="58"/>
                        </a:cubicBezTo>
                        <a:cubicBezTo>
                          <a:pt x="537" y="57"/>
                          <a:pt x="484" y="58"/>
                          <a:pt x="484" y="58"/>
                        </a:cubicBezTo>
                        <a:cubicBezTo>
                          <a:pt x="484" y="58"/>
                          <a:pt x="463" y="96"/>
                          <a:pt x="463" y="99"/>
                        </a:cubicBezTo>
                        <a:cubicBezTo>
                          <a:pt x="463" y="101"/>
                          <a:pt x="460" y="209"/>
                          <a:pt x="460" y="209"/>
                        </a:cubicBezTo>
                        <a:cubicBezTo>
                          <a:pt x="444" y="224"/>
                          <a:pt x="444" y="224"/>
                          <a:pt x="444" y="224"/>
                        </a:cubicBezTo>
                        <a:cubicBezTo>
                          <a:pt x="444" y="224"/>
                          <a:pt x="404" y="225"/>
                          <a:pt x="406" y="224"/>
                        </a:cubicBezTo>
                        <a:cubicBezTo>
                          <a:pt x="408" y="224"/>
                          <a:pt x="390" y="196"/>
                          <a:pt x="383" y="194"/>
                        </a:cubicBezTo>
                        <a:cubicBezTo>
                          <a:pt x="376" y="192"/>
                          <a:pt x="363" y="189"/>
                          <a:pt x="357" y="175"/>
                        </a:cubicBezTo>
                        <a:cubicBezTo>
                          <a:pt x="352" y="160"/>
                          <a:pt x="339" y="154"/>
                          <a:pt x="339" y="144"/>
                        </a:cubicBezTo>
                        <a:cubicBezTo>
                          <a:pt x="339" y="136"/>
                          <a:pt x="342" y="115"/>
                          <a:pt x="342" y="112"/>
                        </a:cubicBezTo>
                        <a:cubicBezTo>
                          <a:pt x="325" y="109"/>
                          <a:pt x="295" y="104"/>
                          <a:pt x="280" y="104"/>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523">
                    <a:extLst>
                      <a:ext uri="{FF2B5EF4-FFF2-40B4-BE49-F238E27FC236}">
                        <a16:creationId xmlns:a16="http://schemas.microsoft.com/office/drawing/2014/main" id="{24DDFB49-AECD-C933-81EA-539BBE2BA1C6}"/>
                      </a:ext>
                    </a:extLst>
                  </p:cNvPr>
                  <p:cNvSpPr>
                    <a:spLocks noChangeAspect="1"/>
                  </p:cNvSpPr>
                  <p:nvPr/>
                </p:nvSpPr>
                <p:spPr bwMode="auto">
                  <a:xfrm>
                    <a:off x="5944535" y="5040185"/>
                    <a:ext cx="271931" cy="421352"/>
                  </a:xfrm>
                  <a:custGeom>
                    <a:avLst/>
                    <a:gdLst>
                      <a:gd name="T0" fmla="*/ 556 w 700"/>
                      <a:gd name="T1" fmla="*/ 277 h 1080"/>
                      <a:gd name="T2" fmla="*/ 526 w 700"/>
                      <a:gd name="T3" fmla="*/ 200 h 1080"/>
                      <a:gd name="T4" fmla="*/ 438 w 700"/>
                      <a:gd name="T5" fmla="*/ 174 h 1080"/>
                      <a:gd name="T6" fmla="*/ 369 w 700"/>
                      <a:gd name="T7" fmla="*/ 181 h 1080"/>
                      <a:gd name="T8" fmla="*/ 304 w 700"/>
                      <a:gd name="T9" fmla="*/ 161 h 1080"/>
                      <a:gd name="T10" fmla="*/ 310 w 700"/>
                      <a:gd name="T11" fmla="*/ 90 h 1080"/>
                      <a:gd name="T12" fmla="*/ 326 w 700"/>
                      <a:gd name="T13" fmla="*/ 51 h 1080"/>
                      <a:gd name="T14" fmla="*/ 325 w 700"/>
                      <a:gd name="T15" fmla="*/ 26 h 1080"/>
                      <a:gd name="T16" fmla="*/ 270 w 700"/>
                      <a:gd name="T17" fmla="*/ 23 h 1080"/>
                      <a:gd name="T18" fmla="*/ 221 w 700"/>
                      <a:gd name="T19" fmla="*/ 14 h 1080"/>
                      <a:gd name="T20" fmla="*/ 197 w 700"/>
                      <a:gd name="T21" fmla="*/ 0 h 1080"/>
                      <a:gd name="T22" fmla="*/ 110 w 700"/>
                      <a:gd name="T23" fmla="*/ 39 h 1080"/>
                      <a:gd name="T24" fmla="*/ 128 w 700"/>
                      <a:gd name="T25" fmla="*/ 86 h 1080"/>
                      <a:gd name="T26" fmla="*/ 205 w 700"/>
                      <a:gd name="T27" fmla="*/ 125 h 1080"/>
                      <a:gd name="T28" fmla="*/ 240 w 700"/>
                      <a:gd name="T29" fmla="*/ 313 h 1080"/>
                      <a:gd name="T30" fmla="*/ 259 w 700"/>
                      <a:gd name="T31" fmla="*/ 374 h 1080"/>
                      <a:gd name="T32" fmla="*/ 230 w 700"/>
                      <a:gd name="T33" fmla="*/ 445 h 1080"/>
                      <a:gd name="T34" fmla="*/ 192 w 700"/>
                      <a:gd name="T35" fmla="*/ 537 h 1080"/>
                      <a:gd name="T36" fmla="*/ 138 w 700"/>
                      <a:gd name="T37" fmla="*/ 611 h 1080"/>
                      <a:gd name="T38" fmla="*/ 101 w 700"/>
                      <a:gd name="T39" fmla="*/ 683 h 1080"/>
                      <a:gd name="T40" fmla="*/ 90 w 700"/>
                      <a:gd name="T41" fmla="*/ 763 h 1080"/>
                      <a:gd name="T42" fmla="*/ 106 w 700"/>
                      <a:gd name="T43" fmla="*/ 908 h 1080"/>
                      <a:gd name="T44" fmla="*/ 82 w 700"/>
                      <a:gd name="T45" fmla="*/ 935 h 1080"/>
                      <a:gd name="T46" fmla="*/ 35 w 700"/>
                      <a:gd name="T47" fmla="*/ 961 h 1080"/>
                      <a:gd name="T48" fmla="*/ 9 w 700"/>
                      <a:gd name="T49" fmla="*/ 1025 h 1080"/>
                      <a:gd name="T50" fmla="*/ 127 w 700"/>
                      <a:gd name="T51" fmla="*/ 1066 h 1080"/>
                      <a:gd name="T52" fmla="*/ 230 w 700"/>
                      <a:gd name="T53" fmla="*/ 1064 h 1080"/>
                      <a:gd name="T54" fmla="*/ 256 w 700"/>
                      <a:gd name="T55" fmla="*/ 1060 h 1080"/>
                      <a:gd name="T56" fmla="*/ 300 w 700"/>
                      <a:gd name="T57" fmla="*/ 1027 h 1080"/>
                      <a:gd name="T58" fmla="*/ 307 w 700"/>
                      <a:gd name="T59" fmla="*/ 961 h 1080"/>
                      <a:gd name="T60" fmla="*/ 304 w 700"/>
                      <a:gd name="T61" fmla="*/ 927 h 1080"/>
                      <a:gd name="T62" fmla="*/ 262 w 700"/>
                      <a:gd name="T63" fmla="*/ 928 h 1080"/>
                      <a:gd name="T64" fmla="*/ 325 w 700"/>
                      <a:gd name="T65" fmla="*/ 820 h 1080"/>
                      <a:gd name="T66" fmla="*/ 319 w 700"/>
                      <a:gd name="T67" fmla="*/ 708 h 1080"/>
                      <a:gd name="T68" fmla="*/ 316 w 700"/>
                      <a:gd name="T69" fmla="*/ 657 h 1080"/>
                      <a:gd name="T70" fmla="*/ 419 w 700"/>
                      <a:gd name="T71" fmla="*/ 594 h 1080"/>
                      <a:gd name="T72" fmla="*/ 397 w 700"/>
                      <a:gd name="T73" fmla="*/ 546 h 1080"/>
                      <a:gd name="T74" fmla="*/ 480 w 700"/>
                      <a:gd name="T75" fmla="*/ 509 h 1080"/>
                      <a:gd name="T76" fmla="*/ 524 w 700"/>
                      <a:gd name="T77" fmla="*/ 468 h 1080"/>
                      <a:gd name="T78" fmla="*/ 585 w 700"/>
                      <a:gd name="T79" fmla="*/ 564 h 1080"/>
                      <a:gd name="T80" fmla="*/ 618 w 700"/>
                      <a:gd name="T81" fmla="*/ 583 h 1080"/>
                      <a:gd name="T82" fmla="*/ 684 w 700"/>
                      <a:gd name="T83" fmla="*/ 588 h 1080"/>
                      <a:gd name="T84" fmla="*/ 683 w 700"/>
                      <a:gd name="T85" fmla="*/ 535 h 1080"/>
                      <a:gd name="T86" fmla="*/ 657 w 700"/>
                      <a:gd name="T87" fmla="*/ 470 h 1080"/>
                      <a:gd name="T88" fmla="*/ 643 w 700"/>
                      <a:gd name="T89" fmla="*/ 361 h 1080"/>
                      <a:gd name="T90" fmla="*/ 633 w 700"/>
                      <a:gd name="T91" fmla="*/ 306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0" h="1080">
                        <a:moveTo>
                          <a:pt x="592" y="305"/>
                        </a:moveTo>
                        <a:cubicBezTo>
                          <a:pt x="566" y="302"/>
                          <a:pt x="557" y="282"/>
                          <a:pt x="556" y="277"/>
                        </a:cubicBezTo>
                        <a:cubicBezTo>
                          <a:pt x="555" y="273"/>
                          <a:pt x="534" y="251"/>
                          <a:pt x="534" y="251"/>
                        </a:cubicBezTo>
                        <a:cubicBezTo>
                          <a:pt x="534" y="251"/>
                          <a:pt x="532" y="229"/>
                          <a:pt x="526" y="200"/>
                        </a:cubicBezTo>
                        <a:cubicBezTo>
                          <a:pt x="521" y="170"/>
                          <a:pt x="456" y="185"/>
                          <a:pt x="441" y="184"/>
                        </a:cubicBezTo>
                        <a:cubicBezTo>
                          <a:pt x="426" y="184"/>
                          <a:pt x="437" y="179"/>
                          <a:pt x="438" y="174"/>
                        </a:cubicBezTo>
                        <a:cubicBezTo>
                          <a:pt x="440" y="168"/>
                          <a:pt x="395" y="171"/>
                          <a:pt x="387" y="171"/>
                        </a:cubicBezTo>
                        <a:cubicBezTo>
                          <a:pt x="379" y="171"/>
                          <a:pt x="380" y="178"/>
                          <a:pt x="369" y="181"/>
                        </a:cubicBezTo>
                        <a:cubicBezTo>
                          <a:pt x="357" y="183"/>
                          <a:pt x="345" y="174"/>
                          <a:pt x="338" y="174"/>
                        </a:cubicBezTo>
                        <a:cubicBezTo>
                          <a:pt x="331" y="174"/>
                          <a:pt x="314" y="168"/>
                          <a:pt x="304" y="161"/>
                        </a:cubicBezTo>
                        <a:cubicBezTo>
                          <a:pt x="294" y="154"/>
                          <a:pt x="298" y="107"/>
                          <a:pt x="298" y="105"/>
                        </a:cubicBezTo>
                        <a:cubicBezTo>
                          <a:pt x="298" y="102"/>
                          <a:pt x="310" y="92"/>
                          <a:pt x="310" y="90"/>
                        </a:cubicBezTo>
                        <a:cubicBezTo>
                          <a:pt x="311" y="87"/>
                          <a:pt x="306" y="68"/>
                          <a:pt x="306" y="68"/>
                        </a:cubicBezTo>
                        <a:cubicBezTo>
                          <a:pt x="306" y="68"/>
                          <a:pt x="313" y="62"/>
                          <a:pt x="326" y="51"/>
                        </a:cubicBezTo>
                        <a:cubicBezTo>
                          <a:pt x="333" y="46"/>
                          <a:pt x="333" y="37"/>
                          <a:pt x="332" y="31"/>
                        </a:cubicBezTo>
                        <a:cubicBezTo>
                          <a:pt x="328" y="29"/>
                          <a:pt x="325" y="27"/>
                          <a:pt x="325" y="26"/>
                        </a:cubicBezTo>
                        <a:cubicBezTo>
                          <a:pt x="323" y="25"/>
                          <a:pt x="283" y="15"/>
                          <a:pt x="281" y="14"/>
                        </a:cubicBezTo>
                        <a:cubicBezTo>
                          <a:pt x="282" y="14"/>
                          <a:pt x="278" y="23"/>
                          <a:pt x="270" y="23"/>
                        </a:cubicBezTo>
                        <a:cubicBezTo>
                          <a:pt x="261" y="23"/>
                          <a:pt x="251" y="43"/>
                          <a:pt x="242" y="34"/>
                        </a:cubicBezTo>
                        <a:cubicBezTo>
                          <a:pt x="233" y="24"/>
                          <a:pt x="225" y="22"/>
                          <a:pt x="221" y="14"/>
                        </a:cubicBezTo>
                        <a:cubicBezTo>
                          <a:pt x="217" y="7"/>
                          <a:pt x="214" y="2"/>
                          <a:pt x="207" y="1"/>
                        </a:cubicBezTo>
                        <a:cubicBezTo>
                          <a:pt x="205" y="1"/>
                          <a:pt x="202" y="0"/>
                          <a:pt x="197" y="0"/>
                        </a:cubicBezTo>
                        <a:cubicBezTo>
                          <a:pt x="190" y="6"/>
                          <a:pt x="181" y="14"/>
                          <a:pt x="177" y="15"/>
                        </a:cubicBezTo>
                        <a:cubicBezTo>
                          <a:pt x="171" y="17"/>
                          <a:pt x="120" y="25"/>
                          <a:pt x="110" y="39"/>
                        </a:cubicBezTo>
                        <a:cubicBezTo>
                          <a:pt x="103" y="48"/>
                          <a:pt x="99" y="62"/>
                          <a:pt x="95" y="72"/>
                        </a:cubicBezTo>
                        <a:cubicBezTo>
                          <a:pt x="106" y="72"/>
                          <a:pt x="121" y="70"/>
                          <a:pt x="128" y="86"/>
                        </a:cubicBezTo>
                        <a:cubicBezTo>
                          <a:pt x="136" y="107"/>
                          <a:pt x="140" y="119"/>
                          <a:pt x="152" y="119"/>
                        </a:cubicBezTo>
                        <a:cubicBezTo>
                          <a:pt x="163" y="120"/>
                          <a:pt x="198" y="120"/>
                          <a:pt x="205" y="125"/>
                        </a:cubicBezTo>
                        <a:cubicBezTo>
                          <a:pt x="212" y="129"/>
                          <a:pt x="238" y="148"/>
                          <a:pt x="238" y="169"/>
                        </a:cubicBezTo>
                        <a:cubicBezTo>
                          <a:pt x="238" y="191"/>
                          <a:pt x="240" y="313"/>
                          <a:pt x="240" y="313"/>
                        </a:cubicBezTo>
                        <a:cubicBezTo>
                          <a:pt x="240" y="313"/>
                          <a:pt x="209" y="296"/>
                          <a:pt x="212" y="305"/>
                        </a:cubicBezTo>
                        <a:cubicBezTo>
                          <a:pt x="215" y="315"/>
                          <a:pt x="259" y="362"/>
                          <a:pt x="259" y="374"/>
                        </a:cubicBezTo>
                        <a:cubicBezTo>
                          <a:pt x="260" y="386"/>
                          <a:pt x="246" y="399"/>
                          <a:pt x="246" y="411"/>
                        </a:cubicBezTo>
                        <a:cubicBezTo>
                          <a:pt x="246" y="422"/>
                          <a:pt x="228" y="431"/>
                          <a:pt x="230" y="445"/>
                        </a:cubicBezTo>
                        <a:cubicBezTo>
                          <a:pt x="231" y="458"/>
                          <a:pt x="224" y="481"/>
                          <a:pt x="212" y="493"/>
                        </a:cubicBezTo>
                        <a:cubicBezTo>
                          <a:pt x="200" y="505"/>
                          <a:pt x="198" y="536"/>
                          <a:pt x="192" y="537"/>
                        </a:cubicBezTo>
                        <a:cubicBezTo>
                          <a:pt x="185" y="538"/>
                          <a:pt x="190" y="530"/>
                          <a:pt x="173" y="547"/>
                        </a:cubicBezTo>
                        <a:cubicBezTo>
                          <a:pt x="156" y="563"/>
                          <a:pt x="138" y="603"/>
                          <a:pt x="138" y="611"/>
                        </a:cubicBezTo>
                        <a:cubicBezTo>
                          <a:pt x="137" y="618"/>
                          <a:pt x="150" y="619"/>
                          <a:pt x="136" y="630"/>
                        </a:cubicBezTo>
                        <a:cubicBezTo>
                          <a:pt x="123" y="641"/>
                          <a:pt x="99" y="675"/>
                          <a:pt x="101" y="683"/>
                        </a:cubicBezTo>
                        <a:cubicBezTo>
                          <a:pt x="103" y="691"/>
                          <a:pt x="102" y="704"/>
                          <a:pt x="98" y="715"/>
                        </a:cubicBezTo>
                        <a:cubicBezTo>
                          <a:pt x="96" y="723"/>
                          <a:pt x="92" y="746"/>
                          <a:pt x="90" y="763"/>
                        </a:cubicBezTo>
                        <a:cubicBezTo>
                          <a:pt x="107" y="767"/>
                          <a:pt x="107" y="767"/>
                          <a:pt x="107" y="767"/>
                        </a:cubicBezTo>
                        <a:cubicBezTo>
                          <a:pt x="107" y="767"/>
                          <a:pt x="107" y="901"/>
                          <a:pt x="106" y="908"/>
                        </a:cubicBezTo>
                        <a:cubicBezTo>
                          <a:pt x="106" y="915"/>
                          <a:pt x="100" y="913"/>
                          <a:pt x="100" y="913"/>
                        </a:cubicBezTo>
                        <a:cubicBezTo>
                          <a:pt x="100" y="913"/>
                          <a:pt x="88" y="928"/>
                          <a:pt x="82" y="935"/>
                        </a:cubicBezTo>
                        <a:cubicBezTo>
                          <a:pt x="77" y="943"/>
                          <a:pt x="71" y="940"/>
                          <a:pt x="61" y="940"/>
                        </a:cubicBezTo>
                        <a:cubicBezTo>
                          <a:pt x="51" y="940"/>
                          <a:pt x="50" y="947"/>
                          <a:pt x="35" y="961"/>
                        </a:cubicBezTo>
                        <a:cubicBezTo>
                          <a:pt x="20" y="974"/>
                          <a:pt x="24" y="989"/>
                          <a:pt x="24" y="989"/>
                        </a:cubicBezTo>
                        <a:cubicBezTo>
                          <a:pt x="24" y="989"/>
                          <a:pt x="18" y="1007"/>
                          <a:pt x="9" y="1025"/>
                        </a:cubicBezTo>
                        <a:cubicBezTo>
                          <a:pt x="0" y="1042"/>
                          <a:pt x="54" y="1072"/>
                          <a:pt x="60" y="1073"/>
                        </a:cubicBezTo>
                        <a:cubicBezTo>
                          <a:pt x="66" y="1075"/>
                          <a:pt x="121" y="1066"/>
                          <a:pt x="127" y="1066"/>
                        </a:cubicBezTo>
                        <a:cubicBezTo>
                          <a:pt x="133" y="1066"/>
                          <a:pt x="161" y="1055"/>
                          <a:pt x="161" y="1055"/>
                        </a:cubicBezTo>
                        <a:cubicBezTo>
                          <a:pt x="161" y="1055"/>
                          <a:pt x="228" y="1064"/>
                          <a:pt x="230" y="1064"/>
                        </a:cubicBezTo>
                        <a:cubicBezTo>
                          <a:pt x="232" y="1064"/>
                          <a:pt x="241" y="1076"/>
                          <a:pt x="241" y="1078"/>
                        </a:cubicBezTo>
                        <a:cubicBezTo>
                          <a:pt x="241" y="1080"/>
                          <a:pt x="250" y="1065"/>
                          <a:pt x="256" y="1060"/>
                        </a:cubicBezTo>
                        <a:cubicBezTo>
                          <a:pt x="260" y="1057"/>
                          <a:pt x="273" y="1066"/>
                          <a:pt x="282" y="1072"/>
                        </a:cubicBezTo>
                        <a:cubicBezTo>
                          <a:pt x="300" y="1027"/>
                          <a:pt x="300" y="1027"/>
                          <a:pt x="300" y="1027"/>
                        </a:cubicBezTo>
                        <a:cubicBezTo>
                          <a:pt x="274" y="994"/>
                          <a:pt x="274" y="994"/>
                          <a:pt x="274" y="994"/>
                        </a:cubicBezTo>
                        <a:cubicBezTo>
                          <a:pt x="274" y="994"/>
                          <a:pt x="304" y="973"/>
                          <a:pt x="307" y="961"/>
                        </a:cubicBezTo>
                        <a:cubicBezTo>
                          <a:pt x="311" y="950"/>
                          <a:pt x="322" y="945"/>
                          <a:pt x="319" y="937"/>
                        </a:cubicBezTo>
                        <a:cubicBezTo>
                          <a:pt x="316" y="929"/>
                          <a:pt x="306" y="923"/>
                          <a:pt x="304" y="927"/>
                        </a:cubicBezTo>
                        <a:cubicBezTo>
                          <a:pt x="302" y="931"/>
                          <a:pt x="294" y="939"/>
                          <a:pt x="294" y="939"/>
                        </a:cubicBezTo>
                        <a:cubicBezTo>
                          <a:pt x="294" y="939"/>
                          <a:pt x="259" y="933"/>
                          <a:pt x="262" y="928"/>
                        </a:cubicBezTo>
                        <a:cubicBezTo>
                          <a:pt x="265" y="923"/>
                          <a:pt x="298" y="888"/>
                          <a:pt x="308" y="866"/>
                        </a:cubicBezTo>
                        <a:cubicBezTo>
                          <a:pt x="318" y="844"/>
                          <a:pt x="329" y="826"/>
                          <a:pt x="325" y="820"/>
                        </a:cubicBezTo>
                        <a:cubicBezTo>
                          <a:pt x="322" y="814"/>
                          <a:pt x="317" y="804"/>
                          <a:pt x="317" y="804"/>
                        </a:cubicBezTo>
                        <a:cubicBezTo>
                          <a:pt x="317" y="804"/>
                          <a:pt x="311" y="714"/>
                          <a:pt x="319" y="708"/>
                        </a:cubicBezTo>
                        <a:cubicBezTo>
                          <a:pt x="327" y="702"/>
                          <a:pt x="352" y="704"/>
                          <a:pt x="350" y="691"/>
                        </a:cubicBezTo>
                        <a:cubicBezTo>
                          <a:pt x="349" y="677"/>
                          <a:pt x="310" y="665"/>
                          <a:pt x="316" y="657"/>
                        </a:cubicBezTo>
                        <a:cubicBezTo>
                          <a:pt x="323" y="650"/>
                          <a:pt x="432" y="635"/>
                          <a:pt x="433" y="629"/>
                        </a:cubicBezTo>
                        <a:cubicBezTo>
                          <a:pt x="433" y="623"/>
                          <a:pt x="427" y="597"/>
                          <a:pt x="419" y="594"/>
                        </a:cubicBezTo>
                        <a:cubicBezTo>
                          <a:pt x="410" y="591"/>
                          <a:pt x="387" y="585"/>
                          <a:pt x="387" y="580"/>
                        </a:cubicBezTo>
                        <a:cubicBezTo>
                          <a:pt x="388" y="575"/>
                          <a:pt x="381" y="547"/>
                          <a:pt x="397" y="546"/>
                        </a:cubicBezTo>
                        <a:cubicBezTo>
                          <a:pt x="412" y="545"/>
                          <a:pt x="438" y="545"/>
                          <a:pt x="452" y="532"/>
                        </a:cubicBezTo>
                        <a:cubicBezTo>
                          <a:pt x="466" y="519"/>
                          <a:pt x="480" y="511"/>
                          <a:pt x="480" y="509"/>
                        </a:cubicBezTo>
                        <a:cubicBezTo>
                          <a:pt x="481" y="508"/>
                          <a:pt x="467" y="458"/>
                          <a:pt x="488" y="458"/>
                        </a:cubicBezTo>
                        <a:cubicBezTo>
                          <a:pt x="509" y="458"/>
                          <a:pt x="519" y="457"/>
                          <a:pt x="524" y="468"/>
                        </a:cubicBezTo>
                        <a:cubicBezTo>
                          <a:pt x="530" y="479"/>
                          <a:pt x="536" y="515"/>
                          <a:pt x="552" y="536"/>
                        </a:cubicBezTo>
                        <a:cubicBezTo>
                          <a:pt x="567" y="557"/>
                          <a:pt x="582" y="559"/>
                          <a:pt x="585" y="564"/>
                        </a:cubicBezTo>
                        <a:cubicBezTo>
                          <a:pt x="587" y="570"/>
                          <a:pt x="595" y="586"/>
                          <a:pt x="605" y="587"/>
                        </a:cubicBezTo>
                        <a:cubicBezTo>
                          <a:pt x="608" y="587"/>
                          <a:pt x="613" y="585"/>
                          <a:pt x="618" y="583"/>
                        </a:cubicBezTo>
                        <a:cubicBezTo>
                          <a:pt x="628" y="577"/>
                          <a:pt x="640" y="567"/>
                          <a:pt x="640" y="567"/>
                        </a:cubicBezTo>
                        <a:cubicBezTo>
                          <a:pt x="640" y="567"/>
                          <a:pt x="683" y="592"/>
                          <a:pt x="684" y="588"/>
                        </a:cubicBezTo>
                        <a:cubicBezTo>
                          <a:pt x="684" y="584"/>
                          <a:pt x="700" y="568"/>
                          <a:pt x="700" y="566"/>
                        </a:cubicBezTo>
                        <a:cubicBezTo>
                          <a:pt x="699" y="564"/>
                          <a:pt x="683" y="553"/>
                          <a:pt x="683" y="535"/>
                        </a:cubicBezTo>
                        <a:cubicBezTo>
                          <a:pt x="683" y="517"/>
                          <a:pt x="683" y="510"/>
                          <a:pt x="676" y="500"/>
                        </a:cubicBezTo>
                        <a:cubicBezTo>
                          <a:pt x="668" y="490"/>
                          <a:pt x="656" y="479"/>
                          <a:pt x="657" y="470"/>
                        </a:cubicBezTo>
                        <a:cubicBezTo>
                          <a:pt x="658" y="461"/>
                          <a:pt x="659" y="407"/>
                          <a:pt x="656" y="403"/>
                        </a:cubicBezTo>
                        <a:cubicBezTo>
                          <a:pt x="654" y="398"/>
                          <a:pt x="643" y="361"/>
                          <a:pt x="643" y="361"/>
                        </a:cubicBezTo>
                        <a:cubicBezTo>
                          <a:pt x="643" y="361"/>
                          <a:pt x="643" y="316"/>
                          <a:pt x="641" y="314"/>
                        </a:cubicBezTo>
                        <a:cubicBezTo>
                          <a:pt x="639" y="313"/>
                          <a:pt x="635" y="310"/>
                          <a:pt x="633" y="306"/>
                        </a:cubicBezTo>
                        <a:cubicBezTo>
                          <a:pt x="623" y="306"/>
                          <a:pt x="607" y="306"/>
                          <a:pt x="592" y="305"/>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524">
                    <a:extLst>
                      <a:ext uri="{FF2B5EF4-FFF2-40B4-BE49-F238E27FC236}">
                        <a16:creationId xmlns:a16="http://schemas.microsoft.com/office/drawing/2014/main" id="{47F1F20D-CE9C-D074-EE2D-0F70D99F0906}"/>
                      </a:ext>
                    </a:extLst>
                  </p:cNvPr>
                  <p:cNvSpPr>
                    <a:spLocks noChangeAspect="1"/>
                  </p:cNvSpPr>
                  <p:nvPr/>
                </p:nvSpPr>
                <p:spPr bwMode="auto">
                  <a:xfrm>
                    <a:off x="5756483" y="5067716"/>
                    <a:ext cx="281514" cy="278906"/>
                  </a:xfrm>
                  <a:custGeom>
                    <a:avLst/>
                    <a:gdLst>
                      <a:gd name="T0" fmla="*/ 562 w 721"/>
                      <a:gd name="T1" fmla="*/ 613 h 715"/>
                      <a:gd name="T2" fmla="*/ 597 w 721"/>
                      <a:gd name="T3" fmla="*/ 560 h 715"/>
                      <a:gd name="T4" fmla="*/ 599 w 721"/>
                      <a:gd name="T5" fmla="*/ 541 h 715"/>
                      <a:gd name="T6" fmla="*/ 634 w 721"/>
                      <a:gd name="T7" fmla="*/ 477 h 715"/>
                      <a:gd name="T8" fmla="*/ 653 w 721"/>
                      <a:gd name="T9" fmla="*/ 467 h 715"/>
                      <a:gd name="T10" fmla="*/ 673 w 721"/>
                      <a:gd name="T11" fmla="*/ 423 h 715"/>
                      <a:gd name="T12" fmla="*/ 691 w 721"/>
                      <a:gd name="T13" fmla="*/ 375 h 715"/>
                      <a:gd name="T14" fmla="*/ 707 w 721"/>
                      <a:gd name="T15" fmla="*/ 341 h 715"/>
                      <a:gd name="T16" fmla="*/ 720 w 721"/>
                      <a:gd name="T17" fmla="*/ 304 h 715"/>
                      <a:gd name="T18" fmla="*/ 673 w 721"/>
                      <a:gd name="T19" fmla="*/ 235 h 715"/>
                      <a:gd name="T20" fmla="*/ 701 w 721"/>
                      <a:gd name="T21" fmla="*/ 243 h 715"/>
                      <a:gd name="T22" fmla="*/ 699 w 721"/>
                      <a:gd name="T23" fmla="*/ 99 h 715"/>
                      <a:gd name="T24" fmla="*/ 666 w 721"/>
                      <a:gd name="T25" fmla="*/ 55 h 715"/>
                      <a:gd name="T26" fmla="*/ 613 w 721"/>
                      <a:gd name="T27" fmla="*/ 49 h 715"/>
                      <a:gd name="T28" fmla="*/ 589 w 721"/>
                      <a:gd name="T29" fmla="*/ 16 h 715"/>
                      <a:gd name="T30" fmla="*/ 556 w 721"/>
                      <a:gd name="T31" fmla="*/ 2 h 715"/>
                      <a:gd name="T32" fmla="*/ 550 w 721"/>
                      <a:gd name="T33" fmla="*/ 13 h 715"/>
                      <a:gd name="T34" fmla="*/ 521 w 721"/>
                      <a:gd name="T35" fmla="*/ 37 h 715"/>
                      <a:gd name="T36" fmla="*/ 446 w 721"/>
                      <a:gd name="T37" fmla="*/ 39 h 715"/>
                      <a:gd name="T38" fmla="*/ 407 w 721"/>
                      <a:gd name="T39" fmla="*/ 19 h 715"/>
                      <a:gd name="T40" fmla="*/ 371 w 721"/>
                      <a:gd name="T41" fmla="*/ 29 h 715"/>
                      <a:gd name="T42" fmla="*/ 319 w 721"/>
                      <a:gd name="T43" fmla="*/ 44 h 715"/>
                      <a:gd name="T44" fmla="*/ 271 w 721"/>
                      <a:gd name="T45" fmla="*/ 48 h 715"/>
                      <a:gd name="T46" fmla="*/ 281 w 721"/>
                      <a:gd name="T47" fmla="*/ 113 h 715"/>
                      <a:gd name="T48" fmla="*/ 250 w 721"/>
                      <a:gd name="T49" fmla="*/ 143 h 715"/>
                      <a:gd name="T50" fmla="*/ 225 w 721"/>
                      <a:gd name="T51" fmla="*/ 174 h 715"/>
                      <a:gd name="T52" fmla="*/ 140 w 721"/>
                      <a:gd name="T53" fmla="*/ 145 h 715"/>
                      <a:gd name="T54" fmla="*/ 118 w 721"/>
                      <a:gd name="T55" fmla="*/ 159 h 715"/>
                      <a:gd name="T56" fmla="*/ 61 w 721"/>
                      <a:gd name="T57" fmla="*/ 163 h 715"/>
                      <a:gd name="T58" fmla="*/ 30 w 721"/>
                      <a:gd name="T59" fmla="*/ 191 h 715"/>
                      <a:gd name="T60" fmla="*/ 39 w 721"/>
                      <a:gd name="T61" fmla="*/ 221 h 715"/>
                      <a:gd name="T62" fmla="*/ 53 w 721"/>
                      <a:gd name="T63" fmla="*/ 271 h 715"/>
                      <a:gd name="T64" fmla="*/ 40 w 721"/>
                      <a:gd name="T65" fmla="*/ 335 h 715"/>
                      <a:gd name="T66" fmla="*/ 3 w 721"/>
                      <a:gd name="T67" fmla="*/ 419 h 715"/>
                      <a:gd name="T68" fmla="*/ 1 w 721"/>
                      <a:gd name="T69" fmla="*/ 446 h 715"/>
                      <a:gd name="T70" fmla="*/ 62 w 721"/>
                      <a:gd name="T71" fmla="*/ 449 h 715"/>
                      <a:gd name="T72" fmla="*/ 78 w 721"/>
                      <a:gd name="T73" fmla="*/ 459 h 715"/>
                      <a:gd name="T74" fmla="*/ 116 w 721"/>
                      <a:gd name="T75" fmla="*/ 449 h 715"/>
                      <a:gd name="T76" fmla="*/ 100 w 721"/>
                      <a:gd name="T77" fmla="*/ 489 h 715"/>
                      <a:gd name="T78" fmla="*/ 97 w 721"/>
                      <a:gd name="T79" fmla="*/ 550 h 715"/>
                      <a:gd name="T80" fmla="*/ 82 w 721"/>
                      <a:gd name="T81" fmla="*/ 585 h 715"/>
                      <a:gd name="T82" fmla="*/ 116 w 721"/>
                      <a:gd name="T83" fmla="*/ 609 h 715"/>
                      <a:gd name="T84" fmla="*/ 133 w 721"/>
                      <a:gd name="T85" fmla="*/ 639 h 715"/>
                      <a:gd name="T86" fmla="*/ 165 w 721"/>
                      <a:gd name="T87" fmla="*/ 678 h 715"/>
                      <a:gd name="T88" fmla="*/ 205 w 721"/>
                      <a:gd name="T89" fmla="*/ 685 h 715"/>
                      <a:gd name="T90" fmla="*/ 415 w 721"/>
                      <a:gd name="T91" fmla="*/ 689 h 715"/>
                      <a:gd name="T92" fmla="*/ 422 w 721"/>
                      <a:gd name="T93" fmla="*/ 697 h 715"/>
                      <a:gd name="T94" fmla="*/ 442 w 721"/>
                      <a:gd name="T95" fmla="*/ 682 h 715"/>
                      <a:gd name="T96" fmla="*/ 455 w 721"/>
                      <a:gd name="T97" fmla="*/ 697 h 715"/>
                      <a:gd name="T98" fmla="*/ 465 w 721"/>
                      <a:gd name="T99" fmla="*/ 685 h 715"/>
                      <a:gd name="T100" fmla="*/ 521 w 721"/>
                      <a:gd name="T101" fmla="*/ 704 h 715"/>
                      <a:gd name="T102" fmla="*/ 546 w 721"/>
                      <a:gd name="T103" fmla="*/ 691 h 715"/>
                      <a:gd name="T104" fmla="*/ 551 w 721"/>
                      <a:gd name="T105" fmla="*/ 693 h 715"/>
                      <a:gd name="T106" fmla="*/ 559 w 721"/>
                      <a:gd name="T107" fmla="*/ 645 h 715"/>
                      <a:gd name="T108" fmla="*/ 562 w 721"/>
                      <a:gd name="T109" fmla="*/ 61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21" h="715">
                        <a:moveTo>
                          <a:pt x="562" y="613"/>
                        </a:moveTo>
                        <a:cubicBezTo>
                          <a:pt x="560" y="605"/>
                          <a:pt x="584" y="571"/>
                          <a:pt x="597" y="560"/>
                        </a:cubicBezTo>
                        <a:cubicBezTo>
                          <a:pt x="611" y="549"/>
                          <a:pt x="598" y="548"/>
                          <a:pt x="599" y="541"/>
                        </a:cubicBezTo>
                        <a:cubicBezTo>
                          <a:pt x="599" y="533"/>
                          <a:pt x="617" y="493"/>
                          <a:pt x="634" y="477"/>
                        </a:cubicBezTo>
                        <a:cubicBezTo>
                          <a:pt x="651" y="460"/>
                          <a:pt x="646" y="468"/>
                          <a:pt x="653" y="467"/>
                        </a:cubicBezTo>
                        <a:cubicBezTo>
                          <a:pt x="659" y="466"/>
                          <a:pt x="661" y="435"/>
                          <a:pt x="673" y="423"/>
                        </a:cubicBezTo>
                        <a:cubicBezTo>
                          <a:pt x="685" y="411"/>
                          <a:pt x="692" y="388"/>
                          <a:pt x="691" y="375"/>
                        </a:cubicBezTo>
                        <a:cubicBezTo>
                          <a:pt x="689" y="361"/>
                          <a:pt x="707" y="352"/>
                          <a:pt x="707" y="341"/>
                        </a:cubicBezTo>
                        <a:cubicBezTo>
                          <a:pt x="707" y="329"/>
                          <a:pt x="721" y="316"/>
                          <a:pt x="720" y="304"/>
                        </a:cubicBezTo>
                        <a:cubicBezTo>
                          <a:pt x="720" y="292"/>
                          <a:pt x="676" y="245"/>
                          <a:pt x="673" y="235"/>
                        </a:cubicBezTo>
                        <a:cubicBezTo>
                          <a:pt x="670" y="226"/>
                          <a:pt x="701" y="243"/>
                          <a:pt x="701" y="243"/>
                        </a:cubicBezTo>
                        <a:cubicBezTo>
                          <a:pt x="701" y="243"/>
                          <a:pt x="699" y="121"/>
                          <a:pt x="699" y="99"/>
                        </a:cubicBezTo>
                        <a:cubicBezTo>
                          <a:pt x="699" y="78"/>
                          <a:pt x="673" y="59"/>
                          <a:pt x="666" y="55"/>
                        </a:cubicBezTo>
                        <a:cubicBezTo>
                          <a:pt x="659" y="50"/>
                          <a:pt x="624" y="50"/>
                          <a:pt x="613" y="49"/>
                        </a:cubicBezTo>
                        <a:cubicBezTo>
                          <a:pt x="601" y="49"/>
                          <a:pt x="597" y="37"/>
                          <a:pt x="589" y="16"/>
                        </a:cubicBezTo>
                        <a:cubicBezTo>
                          <a:pt x="582" y="0"/>
                          <a:pt x="567" y="2"/>
                          <a:pt x="556" y="2"/>
                        </a:cubicBezTo>
                        <a:cubicBezTo>
                          <a:pt x="554" y="8"/>
                          <a:pt x="552" y="12"/>
                          <a:pt x="550" y="13"/>
                        </a:cubicBezTo>
                        <a:cubicBezTo>
                          <a:pt x="543" y="17"/>
                          <a:pt x="530" y="29"/>
                          <a:pt x="521" y="37"/>
                        </a:cubicBezTo>
                        <a:cubicBezTo>
                          <a:pt x="511" y="45"/>
                          <a:pt x="452" y="39"/>
                          <a:pt x="446" y="39"/>
                        </a:cubicBezTo>
                        <a:cubicBezTo>
                          <a:pt x="440" y="39"/>
                          <a:pt x="427" y="21"/>
                          <a:pt x="407" y="19"/>
                        </a:cubicBezTo>
                        <a:cubicBezTo>
                          <a:pt x="387" y="17"/>
                          <a:pt x="377" y="25"/>
                          <a:pt x="371" y="29"/>
                        </a:cubicBezTo>
                        <a:cubicBezTo>
                          <a:pt x="365" y="32"/>
                          <a:pt x="324" y="43"/>
                          <a:pt x="319" y="44"/>
                        </a:cubicBezTo>
                        <a:cubicBezTo>
                          <a:pt x="315" y="45"/>
                          <a:pt x="279" y="45"/>
                          <a:pt x="271" y="48"/>
                        </a:cubicBezTo>
                        <a:cubicBezTo>
                          <a:pt x="262" y="51"/>
                          <a:pt x="291" y="100"/>
                          <a:pt x="281" y="113"/>
                        </a:cubicBezTo>
                        <a:cubicBezTo>
                          <a:pt x="270" y="125"/>
                          <a:pt x="258" y="141"/>
                          <a:pt x="250" y="143"/>
                        </a:cubicBezTo>
                        <a:cubicBezTo>
                          <a:pt x="242" y="145"/>
                          <a:pt x="237" y="169"/>
                          <a:pt x="225" y="174"/>
                        </a:cubicBezTo>
                        <a:cubicBezTo>
                          <a:pt x="212" y="179"/>
                          <a:pt x="145" y="147"/>
                          <a:pt x="140" y="145"/>
                        </a:cubicBezTo>
                        <a:cubicBezTo>
                          <a:pt x="135" y="142"/>
                          <a:pt x="124" y="159"/>
                          <a:pt x="118" y="159"/>
                        </a:cubicBezTo>
                        <a:cubicBezTo>
                          <a:pt x="112" y="159"/>
                          <a:pt x="69" y="162"/>
                          <a:pt x="61" y="163"/>
                        </a:cubicBezTo>
                        <a:cubicBezTo>
                          <a:pt x="55" y="164"/>
                          <a:pt x="40" y="180"/>
                          <a:pt x="30" y="191"/>
                        </a:cubicBezTo>
                        <a:cubicBezTo>
                          <a:pt x="35" y="198"/>
                          <a:pt x="37" y="211"/>
                          <a:pt x="39" y="221"/>
                        </a:cubicBezTo>
                        <a:cubicBezTo>
                          <a:pt x="43" y="234"/>
                          <a:pt x="59" y="244"/>
                          <a:pt x="53" y="271"/>
                        </a:cubicBezTo>
                        <a:cubicBezTo>
                          <a:pt x="47" y="297"/>
                          <a:pt x="40" y="335"/>
                          <a:pt x="40" y="335"/>
                        </a:cubicBezTo>
                        <a:cubicBezTo>
                          <a:pt x="3" y="419"/>
                          <a:pt x="3" y="419"/>
                          <a:pt x="3" y="419"/>
                        </a:cubicBezTo>
                        <a:cubicBezTo>
                          <a:pt x="3" y="419"/>
                          <a:pt x="1" y="443"/>
                          <a:pt x="1" y="446"/>
                        </a:cubicBezTo>
                        <a:cubicBezTo>
                          <a:pt x="0" y="449"/>
                          <a:pt x="62" y="449"/>
                          <a:pt x="62" y="449"/>
                        </a:cubicBezTo>
                        <a:cubicBezTo>
                          <a:pt x="78" y="459"/>
                          <a:pt x="78" y="459"/>
                          <a:pt x="78" y="459"/>
                        </a:cubicBezTo>
                        <a:cubicBezTo>
                          <a:pt x="78" y="459"/>
                          <a:pt x="107" y="444"/>
                          <a:pt x="116" y="449"/>
                        </a:cubicBezTo>
                        <a:cubicBezTo>
                          <a:pt x="125" y="453"/>
                          <a:pt x="103" y="488"/>
                          <a:pt x="100" y="489"/>
                        </a:cubicBezTo>
                        <a:cubicBezTo>
                          <a:pt x="97" y="491"/>
                          <a:pt x="100" y="546"/>
                          <a:pt x="97" y="550"/>
                        </a:cubicBezTo>
                        <a:cubicBezTo>
                          <a:pt x="93" y="554"/>
                          <a:pt x="92" y="568"/>
                          <a:pt x="82" y="585"/>
                        </a:cubicBezTo>
                        <a:cubicBezTo>
                          <a:pt x="72" y="601"/>
                          <a:pt x="116" y="609"/>
                          <a:pt x="116" y="609"/>
                        </a:cubicBezTo>
                        <a:cubicBezTo>
                          <a:pt x="116" y="609"/>
                          <a:pt x="133" y="633"/>
                          <a:pt x="133" y="639"/>
                        </a:cubicBezTo>
                        <a:cubicBezTo>
                          <a:pt x="134" y="646"/>
                          <a:pt x="157" y="666"/>
                          <a:pt x="165" y="678"/>
                        </a:cubicBezTo>
                        <a:cubicBezTo>
                          <a:pt x="173" y="690"/>
                          <a:pt x="199" y="682"/>
                          <a:pt x="205" y="685"/>
                        </a:cubicBezTo>
                        <a:cubicBezTo>
                          <a:pt x="211" y="689"/>
                          <a:pt x="415" y="689"/>
                          <a:pt x="415" y="689"/>
                        </a:cubicBezTo>
                        <a:cubicBezTo>
                          <a:pt x="422" y="697"/>
                          <a:pt x="422" y="697"/>
                          <a:pt x="422" y="697"/>
                        </a:cubicBezTo>
                        <a:cubicBezTo>
                          <a:pt x="442" y="682"/>
                          <a:pt x="442" y="682"/>
                          <a:pt x="442" y="682"/>
                        </a:cubicBezTo>
                        <a:cubicBezTo>
                          <a:pt x="455" y="697"/>
                          <a:pt x="455" y="697"/>
                          <a:pt x="455" y="697"/>
                        </a:cubicBezTo>
                        <a:cubicBezTo>
                          <a:pt x="465" y="685"/>
                          <a:pt x="465" y="685"/>
                          <a:pt x="465" y="685"/>
                        </a:cubicBezTo>
                        <a:cubicBezTo>
                          <a:pt x="465" y="685"/>
                          <a:pt x="487" y="693"/>
                          <a:pt x="521" y="704"/>
                        </a:cubicBezTo>
                        <a:cubicBezTo>
                          <a:pt x="554" y="715"/>
                          <a:pt x="546" y="691"/>
                          <a:pt x="546" y="691"/>
                        </a:cubicBezTo>
                        <a:cubicBezTo>
                          <a:pt x="551" y="693"/>
                          <a:pt x="551" y="693"/>
                          <a:pt x="551" y="693"/>
                        </a:cubicBezTo>
                        <a:cubicBezTo>
                          <a:pt x="553" y="676"/>
                          <a:pt x="557" y="653"/>
                          <a:pt x="559" y="645"/>
                        </a:cubicBezTo>
                        <a:cubicBezTo>
                          <a:pt x="563" y="634"/>
                          <a:pt x="564" y="621"/>
                          <a:pt x="562" y="613"/>
                        </a:cubicBezTo>
                        <a:close/>
                      </a:path>
                    </a:pathLst>
                  </a:custGeom>
                  <a:solidFill>
                    <a:srgbClr val="FF00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C00000"/>
                      </a:solidFill>
                      <a:effectLst/>
                      <a:uLnTx/>
                      <a:uFillTx/>
                      <a:latin typeface="Calibri"/>
                      <a:ea typeface="+mn-ea"/>
                      <a:cs typeface="+mn-cs"/>
                    </a:endParaRPr>
                  </a:p>
                </p:txBody>
              </p:sp>
              <p:sp>
                <p:nvSpPr>
                  <p:cNvPr id="68" name="Freeform 525">
                    <a:extLst>
                      <a:ext uri="{FF2B5EF4-FFF2-40B4-BE49-F238E27FC236}">
                        <a16:creationId xmlns:a16="http://schemas.microsoft.com/office/drawing/2014/main" id="{E8E89902-0B5C-C0ED-D5E8-2ACAF5DC5566}"/>
                      </a:ext>
                    </a:extLst>
                  </p:cNvPr>
                  <p:cNvSpPr>
                    <a:spLocks noChangeAspect="1"/>
                  </p:cNvSpPr>
                  <p:nvPr/>
                </p:nvSpPr>
                <p:spPr bwMode="auto">
                  <a:xfrm>
                    <a:off x="6497979" y="2773024"/>
                    <a:ext cx="788240" cy="1074926"/>
                  </a:xfrm>
                  <a:custGeom>
                    <a:avLst/>
                    <a:gdLst>
                      <a:gd name="T0" fmla="*/ 1942 w 2017"/>
                      <a:gd name="T1" fmla="*/ 2375 h 2750"/>
                      <a:gd name="T2" fmla="*/ 1720 w 2017"/>
                      <a:gd name="T3" fmla="*/ 2194 h 2750"/>
                      <a:gd name="T4" fmla="*/ 1827 w 2017"/>
                      <a:gd name="T5" fmla="*/ 2021 h 2750"/>
                      <a:gd name="T6" fmla="*/ 1710 w 2017"/>
                      <a:gd name="T7" fmla="*/ 1835 h 2750"/>
                      <a:gd name="T8" fmla="*/ 1545 w 2017"/>
                      <a:gd name="T9" fmla="*/ 1703 h 2750"/>
                      <a:gd name="T10" fmla="*/ 1604 w 2017"/>
                      <a:gd name="T11" fmla="*/ 1521 h 2750"/>
                      <a:gd name="T12" fmla="*/ 1692 w 2017"/>
                      <a:gd name="T13" fmla="*/ 1500 h 2750"/>
                      <a:gd name="T14" fmla="*/ 1650 w 2017"/>
                      <a:gd name="T15" fmla="*/ 1381 h 2750"/>
                      <a:gd name="T16" fmla="*/ 1794 w 2017"/>
                      <a:gd name="T17" fmla="*/ 1261 h 2750"/>
                      <a:gd name="T18" fmla="*/ 1951 w 2017"/>
                      <a:gd name="T19" fmla="*/ 1215 h 2750"/>
                      <a:gd name="T20" fmla="*/ 1929 w 2017"/>
                      <a:gd name="T21" fmla="*/ 1103 h 2750"/>
                      <a:gd name="T22" fmla="*/ 1876 w 2017"/>
                      <a:gd name="T23" fmla="*/ 1040 h 2750"/>
                      <a:gd name="T24" fmla="*/ 1936 w 2017"/>
                      <a:gd name="T25" fmla="*/ 956 h 2750"/>
                      <a:gd name="T26" fmla="*/ 1893 w 2017"/>
                      <a:gd name="T27" fmla="*/ 711 h 2750"/>
                      <a:gd name="T28" fmla="*/ 1810 w 2017"/>
                      <a:gd name="T29" fmla="*/ 520 h 2750"/>
                      <a:gd name="T30" fmla="*/ 1763 w 2017"/>
                      <a:gd name="T31" fmla="*/ 213 h 2750"/>
                      <a:gd name="T32" fmla="*/ 1693 w 2017"/>
                      <a:gd name="T33" fmla="*/ 20 h 2750"/>
                      <a:gd name="T34" fmla="*/ 1553 w 2017"/>
                      <a:gd name="T35" fmla="*/ 43 h 2750"/>
                      <a:gd name="T36" fmla="*/ 1451 w 2017"/>
                      <a:gd name="T37" fmla="*/ 62 h 2750"/>
                      <a:gd name="T38" fmla="*/ 1276 w 2017"/>
                      <a:gd name="T39" fmla="*/ 189 h 2750"/>
                      <a:gd name="T40" fmla="*/ 1200 w 2017"/>
                      <a:gd name="T41" fmla="*/ 463 h 2750"/>
                      <a:gd name="T42" fmla="*/ 976 w 2017"/>
                      <a:gd name="T43" fmla="*/ 570 h 2750"/>
                      <a:gd name="T44" fmla="*/ 832 w 2017"/>
                      <a:gd name="T45" fmla="*/ 651 h 2750"/>
                      <a:gd name="T46" fmla="*/ 903 w 2017"/>
                      <a:gd name="T47" fmla="*/ 699 h 2750"/>
                      <a:gd name="T48" fmla="*/ 922 w 2017"/>
                      <a:gd name="T49" fmla="*/ 913 h 2750"/>
                      <a:gd name="T50" fmla="*/ 1032 w 2017"/>
                      <a:gd name="T51" fmla="*/ 1047 h 2750"/>
                      <a:gd name="T52" fmla="*/ 1214 w 2017"/>
                      <a:gd name="T53" fmla="*/ 1139 h 2750"/>
                      <a:gd name="T54" fmla="*/ 1426 w 2017"/>
                      <a:gd name="T55" fmla="*/ 1211 h 2750"/>
                      <a:gd name="T56" fmla="*/ 1244 w 2017"/>
                      <a:gd name="T57" fmla="*/ 1317 h 2750"/>
                      <a:gd name="T58" fmla="*/ 1204 w 2017"/>
                      <a:gd name="T59" fmla="*/ 1396 h 2750"/>
                      <a:gd name="T60" fmla="*/ 1023 w 2017"/>
                      <a:gd name="T61" fmla="*/ 1269 h 2750"/>
                      <a:gd name="T62" fmla="*/ 956 w 2017"/>
                      <a:gd name="T63" fmla="*/ 1148 h 2750"/>
                      <a:gd name="T64" fmla="*/ 836 w 2017"/>
                      <a:gd name="T65" fmla="*/ 1159 h 2750"/>
                      <a:gd name="T66" fmla="*/ 731 w 2017"/>
                      <a:gd name="T67" fmla="*/ 1085 h 2750"/>
                      <a:gd name="T68" fmla="*/ 525 w 2017"/>
                      <a:gd name="T69" fmla="*/ 1055 h 2750"/>
                      <a:gd name="T70" fmla="*/ 452 w 2017"/>
                      <a:gd name="T71" fmla="*/ 1048 h 2750"/>
                      <a:gd name="T72" fmla="*/ 260 w 2017"/>
                      <a:gd name="T73" fmla="*/ 1115 h 2750"/>
                      <a:gd name="T74" fmla="*/ 155 w 2017"/>
                      <a:gd name="T75" fmla="*/ 1253 h 2750"/>
                      <a:gd name="T76" fmla="*/ 44 w 2017"/>
                      <a:gd name="T77" fmla="*/ 1310 h 2750"/>
                      <a:gd name="T78" fmla="*/ 46 w 2017"/>
                      <a:gd name="T79" fmla="*/ 1536 h 2750"/>
                      <a:gd name="T80" fmla="*/ 44 w 2017"/>
                      <a:gd name="T81" fmla="*/ 1747 h 2750"/>
                      <a:gd name="T82" fmla="*/ 2 w 2017"/>
                      <a:gd name="T83" fmla="*/ 1842 h 2750"/>
                      <a:gd name="T84" fmla="*/ 106 w 2017"/>
                      <a:gd name="T85" fmla="*/ 1955 h 2750"/>
                      <a:gd name="T86" fmla="*/ 226 w 2017"/>
                      <a:gd name="T87" fmla="*/ 2112 h 2750"/>
                      <a:gd name="T88" fmla="*/ 346 w 2017"/>
                      <a:gd name="T89" fmla="*/ 2243 h 2750"/>
                      <a:gd name="T90" fmla="*/ 443 w 2017"/>
                      <a:gd name="T91" fmla="*/ 2384 h 2750"/>
                      <a:gd name="T92" fmla="*/ 477 w 2017"/>
                      <a:gd name="T93" fmla="*/ 2535 h 2750"/>
                      <a:gd name="T94" fmla="*/ 597 w 2017"/>
                      <a:gd name="T95" fmla="*/ 2647 h 2750"/>
                      <a:gd name="T96" fmla="*/ 920 w 2017"/>
                      <a:gd name="T97" fmla="*/ 2647 h 2750"/>
                      <a:gd name="T98" fmla="*/ 1031 w 2017"/>
                      <a:gd name="T99" fmla="*/ 2569 h 2750"/>
                      <a:gd name="T100" fmla="*/ 1003 w 2017"/>
                      <a:gd name="T101" fmla="*/ 2436 h 2750"/>
                      <a:gd name="T102" fmla="*/ 1221 w 2017"/>
                      <a:gd name="T103" fmla="*/ 2495 h 2750"/>
                      <a:gd name="T104" fmla="*/ 1408 w 2017"/>
                      <a:gd name="T105" fmla="*/ 2582 h 2750"/>
                      <a:gd name="T106" fmla="*/ 1600 w 2017"/>
                      <a:gd name="T107" fmla="*/ 2715 h 2750"/>
                      <a:gd name="T108" fmla="*/ 1698 w 2017"/>
                      <a:gd name="T109" fmla="*/ 2729 h 2750"/>
                      <a:gd name="T110" fmla="*/ 1870 w 2017"/>
                      <a:gd name="T111" fmla="*/ 2659 h 2750"/>
                      <a:gd name="T112" fmla="*/ 1964 w 2017"/>
                      <a:gd name="T113" fmla="*/ 2512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17" h="2750">
                        <a:moveTo>
                          <a:pt x="1964" y="2512"/>
                        </a:moveTo>
                        <a:cubicBezTo>
                          <a:pt x="1966" y="2496"/>
                          <a:pt x="1962" y="2438"/>
                          <a:pt x="1962" y="2438"/>
                        </a:cubicBezTo>
                        <a:cubicBezTo>
                          <a:pt x="1976" y="2409"/>
                          <a:pt x="1976" y="2409"/>
                          <a:pt x="1976" y="2409"/>
                        </a:cubicBezTo>
                        <a:cubicBezTo>
                          <a:pt x="1976" y="2409"/>
                          <a:pt x="1942" y="2385"/>
                          <a:pt x="1942" y="2375"/>
                        </a:cubicBezTo>
                        <a:cubicBezTo>
                          <a:pt x="1942" y="2365"/>
                          <a:pt x="1896" y="2325"/>
                          <a:pt x="1865" y="2309"/>
                        </a:cubicBezTo>
                        <a:cubicBezTo>
                          <a:pt x="1834" y="2292"/>
                          <a:pt x="1796" y="2275"/>
                          <a:pt x="1786" y="2263"/>
                        </a:cubicBezTo>
                        <a:cubicBezTo>
                          <a:pt x="1776" y="2251"/>
                          <a:pt x="1734" y="2232"/>
                          <a:pt x="1725" y="2221"/>
                        </a:cubicBezTo>
                        <a:cubicBezTo>
                          <a:pt x="1716" y="2211"/>
                          <a:pt x="1710" y="2201"/>
                          <a:pt x="1720" y="2194"/>
                        </a:cubicBezTo>
                        <a:cubicBezTo>
                          <a:pt x="1730" y="2187"/>
                          <a:pt x="1816" y="2145"/>
                          <a:pt x="1818" y="2142"/>
                        </a:cubicBezTo>
                        <a:cubicBezTo>
                          <a:pt x="1820" y="2139"/>
                          <a:pt x="1822" y="2113"/>
                          <a:pt x="1833" y="2103"/>
                        </a:cubicBezTo>
                        <a:cubicBezTo>
                          <a:pt x="1844" y="2092"/>
                          <a:pt x="1861" y="2059"/>
                          <a:pt x="1863" y="2054"/>
                        </a:cubicBezTo>
                        <a:cubicBezTo>
                          <a:pt x="1865" y="2049"/>
                          <a:pt x="1827" y="2021"/>
                          <a:pt x="1827" y="2021"/>
                        </a:cubicBezTo>
                        <a:cubicBezTo>
                          <a:pt x="1827" y="2021"/>
                          <a:pt x="1839" y="1890"/>
                          <a:pt x="1826" y="1882"/>
                        </a:cubicBezTo>
                        <a:cubicBezTo>
                          <a:pt x="1812" y="1874"/>
                          <a:pt x="1806" y="1861"/>
                          <a:pt x="1789" y="1862"/>
                        </a:cubicBezTo>
                        <a:cubicBezTo>
                          <a:pt x="1772" y="1863"/>
                          <a:pt x="1738" y="1860"/>
                          <a:pt x="1731" y="1851"/>
                        </a:cubicBezTo>
                        <a:cubicBezTo>
                          <a:pt x="1724" y="1841"/>
                          <a:pt x="1710" y="1835"/>
                          <a:pt x="1710" y="1835"/>
                        </a:cubicBezTo>
                        <a:cubicBezTo>
                          <a:pt x="1640" y="1834"/>
                          <a:pt x="1640" y="1834"/>
                          <a:pt x="1640" y="1834"/>
                        </a:cubicBezTo>
                        <a:cubicBezTo>
                          <a:pt x="1640" y="1834"/>
                          <a:pt x="1605" y="1812"/>
                          <a:pt x="1605" y="1797"/>
                        </a:cubicBezTo>
                        <a:cubicBezTo>
                          <a:pt x="1605" y="1783"/>
                          <a:pt x="1580" y="1733"/>
                          <a:pt x="1580" y="1733"/>
                        </a:cubicBezTo>
                        <a:cubicBezTo>
                          <a:pt x="1545" y="1703"/>
                          <a:pt x="1545" y="1703"/>
                          <a:pt x="1545" y="1703"/>
                        </a:cubicBezTo>
                        <a:cubicBezTo>
                          <a:pt x="1553" y="1623"/>
                          <a:pt x="1553" y="1623"/>
                          <a:pt x="1553" y="1623"/>
                        </a:cubicBezTo>
                        <a:cubicBezTo>
                          <a:pt x="1553" y="1623"/>
                          <a:pt x="1579" y="1604"/>
                          <a:pt x="1591" y="1585"/>
                        </a:cubicBezTo>
                        <a:cubicBezTo>
                          <a:pt x="1603" y="1565"/>
                          <a:pt x="1620" y="1549"/>
                          <a:pt x="1616" y="1545"/>
                        </a:cubicBezTo>
                        <a:cubicBezTo>
                          <a:pt x="1613" y="1541"/>
                          <a:pt x="1599" y="1528"/>
                          <a:pt x="1604" y="1521"/>
                        </a:cubicBezTo>
                        <a:cubicBezTo>
                          <a:pt x="1608" y="1515"/>
                          <a:pt x="1612" y="1469"/>
                          <a:pt x="1616" y="1468"/>
                        </a:cubicBezTo>
                        <a:cubicBezTo>
                          <a:pt x="1620" y="1467"/>
                          <a:pt x="1632" y="1449"/>
                          <a:pt x="1646" y="1473"/>
                        </a:cubicBezTo>
                        <a:cubicBezTo>
                          <a:pt x="1660" y="1497"/>
                          <a:pt x="1659" y="1501"/>
                          <a:pt x="1659" y="1501"/>
                        </a:cubicBezTo>
                        <a:cubicBezTo>
                          <a:pt x="1692" y="1500"/>
                          <a:pt x="1692" y="1500"/>
                          <a:pt x="1692" y="1500"/>
                        </a:cubicBezTo>
                        <a:cubicBezTo>
                          <a:pt x="1692" y="1500"/>
                          <a:pt x="1694" y="1472"/>
                          <a:pt x="1689" y="1467"/>
                        </a:cubicBezTo>
                        <a:cubicBezTo>
                          <a:pt x="1684" y="1461"/>
                          <a:pt x="1646" y="1449"/>
                          <a:pt x="1644" y="1436"/>
                        </a:cubicBezTo>
                        <a:cubicBezTo>
                          <a:pt x="1642" y="1423"/>
                          <a:pt x="1642" y="1415"/>
                          <a:pt x="1642" y="1413"/>
                        </a:cubicBezTo>
                        <a:cubicBezTo>
                          <a:pt x="1642" y="1411"/>
                          <a:pt x="1650" y="1381"/>
                          <a:pt x="1650" y="1381"/>
                        </a:cubicBezTo>
                        <a:cubicBezTo>
                          <a:pt x="1690" y="1365"/>
                          <a:pt x="1690" y="1365"/>
                          <a:pt x="1690" y="1365"/>
                        </a:cubicBezTo>
                        <a:cubicBezTo>
                          <a:pt x="1690" y="1365"/>
                          <a:pt x="1719" y="1338"/>
                          <a:pt x="1733" y="1319"/>
                        </a:cubicBezTo>
                        <a:cubicBezTo>
                          <a:pt x="1747" y="1299"/>
                          <a:pt x="1750" y="1281"/>
                          <a:pt x="1750" y="1281"/>
                        </a:cubicBezTo>
                        <a:cubicBezTo>
                          <a:pt x="1794" y="1261"/>
                          <a:pt x="1794" y="1261"/>
                          <a:pt x="1794" y="1261"/>
                        </a:cubicBezTo>
                        <a:cubicBezTo>
                          <a:pt x="1856" y="1299"/>
                          <a:pt x="1856" y="1299"/>
                          <a:pt x="1856" y="1299"/>
                        </a:cubicBezTo>
                        <a:cubicBezTo>
                          <a:pt x="1856" y="1299"/>
                          <a:pt x="1878" y="1278"/>
                          <a:pt x="1886" y="1271"/>
                        </a:cubicBezTo>
                        <a:cubicBezTo>
                          <a:pt x="1893" y="1263"/>
                          <a:pt x="1892" y="1247"/>
                          <a:pt x="1909" y="1247"/>
                        </a:cubicBezTo>
                        <a:cubicBezTo>
                          <a:pt x="1926" y="1247"/>
                          <a:pt x="1938" y="1224"/>
                          <a:pt x="1951" y="1215"/>
                        </a:cubicBezTo>
                        <a:cubicBezTo>
                          <a:pt x="1964" y="1205"/>
                          <a:pt x="1958" y="1218"/>
                          <a:pt x="1972" y="1202"/>
                        </a:cubicBezTo>
                        <a:cubicBezTo>
                          <a:pt x="1987" y="1186"/>
                          <a:pt x="1992" y="1159"/>
                          <a:pt x="2000" y="1143"/>
                        </a:cubicBezTo>
                        <a:cubicBezTo>
                          <a:pt x="2005" y="1135"/>
                          <a:pt x="2011" y="1118"/>
                          <a:pt x="2017" y="1103"/>
                        </a:cubicBezTo>
                        <a:cubicBezTo>
                          <a:pt x="1929" y="1103"/>
                          <a:pt x="1929" y="1103"/>
                          <a:pt x="1929" y="1103"/>
                        </a:cubicBezTo>
                        <a:cubicBezTo>
                          <a:pt x="1929" y="1103"/>
                          <a:pt x="1911" y="1092"/>
                          <a:pt x="1908" y="1088"/>
                        </a:cubicBezTo>
                        <a:cubicBezTo>
                          <a:pt x="1905" y="1083"/>
                          <a:pt x="1905" y="1076"/>
                          <a:pt x="1899" y="1071"/>
                        </a:cubicBezTo>
                        <a:cubicBezTo>
                          <a:pt x="1893" y="1066"/>
                          <a:pt x="1880" y="1064"/>
                          <a:pt x="1878" y="1055"/>
                        </a:cubicBezTo>
                        <a:cubicBezTo>
                          <a:pt x="1876" y="1047"/>
                          <a:pt x="1874" y="1041"/>
                          <a:pt x="1876" y="1040"/>
                        </a:cubicBezTo>
                        <a:cubicBezTo>
                          <a:pt x="1878" y="1039"/>
                          <a:pt x="1890" y="1039"/>
                          <a:pt x="1892" y="1038"/>
                        </a:cubicBezTo>
                        <a:cubicBezTo>
                          <a:pt x="1893" y="1036"/>
                          <a:pt x="1904" y="1022"/>
                          <a:pt x="1913" y="1014"/>
                        </a:cubicBezTo>
                        <a:cubicBezTo>
                          <a:pt x="1922" y="1006"/>
                          <a:pt x="1935" y="992"/>
                          <a:pt x="1933" y="979"/>
                        </a:cubicBezTo>
                        <a:cubicBezTo>
                          <a:pt x="1931" y="967"/>
                          <a:pt x="1936" y="962"/>
                          <a:pt x="1936" y="956"/>
                        </a:cubicBezTo>
                        <a:cubicBezTo>
                          <a:pt x="1936" y="950"/>
                          <a:pt x="1937" y="880"/>
                          <a:pt x="1937" y="880"/>
                        </a:cubicBezTo>
                        <a:cubicBezTo>
                          <a:pt x="1937" y="880"/>
                          <a:pt x="1929" y="866"/>
                          <a:pt x="1930" y="847"/>
                        </a:cubicBezTo>
                        <a:cubicBezTo>
                          <a:pt x="1931" y="828"/>
                          <a:pt x="1921" y="804"/>
                          <a:pt x="1918" y="786"/>
                        </a:cubicBezTo>
                        <a:cubicBezTo>
                          <a:pt x="1914" y="768"/>
                          <a:pt x="1894" y="715"/>
                          <a:pt x="1893" y="711"/>
                        </a:cubicBezTo>
                        <a:cubicBezTo>
                          <a:pt x="1892" y="708"/>
                          <a:pt x="1875" y="704"/>
                          <a:pt x="1875" y="704"/>
                        </a:cubicBezTo>
                        <a:cubicBezTo>
                          <a:pt x="1835" y="629"/>
                          <a:pt x="1835" y="629"/>
                          <a:pt x="1835" y="629"/>
                        </a:cubicBezTo>
                        <a:cubicBezTo>
                          <a:pt x="1832" y="559"/>
                          <a:pt x="1832" y="559"/>
                          <a:pt x="1832" y="559"/>
                        </a:cubicBezTo>
                        <a:cubicBezTo>
                          <a:pt x="1810" y="520"/>
                          <a:pt x="1810" y="520"/>
                          <a:pt x="1810" y="520"/>
                        </a:cubicBezTo>
                        <a:cubicBezTo>
                          <a:pt x="1807" y="393"/>
                          <a:pt x="1807" y="393"/>
                          <a:pt x="1807" y="393"/>
                        </a:cubicBezTo>
                        <a:cubicBezTo>
                          <a:pt x="1764" y="299"/>
                          <a:pt x="1764" y="299"/>
                          <a:pt x="1764" y="299"/>
                        </a:cubicBezTo>
                        <a:cubicBezTo>
                          <a:pt x="1768" y="222"/>
                          <a:pt x="1768" y="222"/>
                          <a:pt x="1768" y="222"/>
                        </a:cubicBezTo>
                        <a:cubicBezTo>
                          <a:pt x="1763" y="213"/>
                          <a:pt x="1763" y="213"/>
                          <a:pt x="1763" y="213"/>
                        </a:cubicBezTo>
                        <a:cubicBezTo>
                          <a:pt x="1759" y="112"/>
                          <a:pt x="1759" y="112"/>
                          <a:pt x="1759" y="112"/>
                        </a:cubicBezTo>
                        <a:cubicBezTo>
                          <a:pt x="1759" y="112"/>
                          <a:pt x="1737" y="102"/>
                          <a:pt x="1739" y="91"/>
                        </a:cubicBezTo>
                        <a:cubicBezTo>
                          <a:pt x="1741" y="81"/>
                          <a:pt x="1739" y="76"/>
                          <a:pt x="1737" y="72"/>
                        </a:cubicBezTo>
                        <a:cubicBezTo>
                          <a:pt x="1736" y="67"/>
                          <a:pt x="1707" y="28"/>
                          <a:pt x="1693" y="20"/>
                        </a:cubicBezTo>
                        <a:cubicBezTo>
                          <a:pt x="1679" y="11"/>
                          <a:pt x="1649" y="1"/>
                          <a:pt x="1645" y="1"/>
                        </a:cubicBezTo>
                        <a:cubicBezTo>
                          <a:pt x="1644" y="1"/>
                          <a:pt x="1642" y="0"/>
                          <a:pt x="1639" y="0"/>
                        </a:cubicBezTo>
                        <a:cubicBezTo>
                          <a:pt x="1628" y="7"/>
                          <a:pt x="1615" y="16"/>
                          <a:pt x="1607" y="18"/>
                        </a:cubicBezTo>
                        <a:cubicBezTo>
                          <a:pt x="1591" y="22"/>
                          <a:pt x="1563" y="33"/>
                          <a:pt x="1553" y="43"/>
                        </a:cubicBezTo>
                        <a:cubicBezTo>
                          <a:pt x="1543" y="53"/>
                          <a:pt x="1528" y="78"/>
                          <a:pt x="1526" y="78"/>
                        </a:cubicBezTo>
                        <a:cubicBezTo>
                          <a:pt x="1524" y="78"/>
                          <a:pt x="1504" y="78"/>
                          <a:pt x="1502" y="78"/>
                        </a:cubicBezTo>
                        <a:cubicBezTo>
                          <a:pt x="1500" y="78"/>
                          <a:pt x="1484" y="61"/>
                          <a:pt x="1484" y="61"/>
                        </a:cubicBezTo>
                        <a:cubicBezTo>
                          <a:pt x="1484" y="61"/>
                          <a:pt x="1458" y="61"/>
                          <a:pt x="1451" y="62"/>
                        </a:cubicBezTo>
                        <a:cubicBezTo>
                          <a:pt x="1444" y="63"/>
                          <a:pt x="1365" y="63"/>
                          <a:pt x="1345" y="79"/>
                        </a:cubicBezTo>
                        <a:cubicBezTo>
                          <a:pt x="1325" y="95"/>
                          <a:pt x="1331" y="109"/>
                          <a:pt x="1324" y="112"/>
                        </a:cubicBezTo>
                        <a:cubicBezTo>
                          <a:pt x="1318" y="115"/>
                          <a:pt x="1309" y="114"/>
                          <a:pt x="1307" y="117"/>
                        </a:cubicBezTo>
                        <a:cubicBezTo>
                          <a:pt x="1305" y="121"/>
                          <a:pt x="1286" y="177"/>
                          <a:pt x="1276" y="189"/>
                        </a:cubicBezTo>
                        <a:cubicBezTo>
                          <a:pt x="1267" y="200"/>
                          <a:pt x="1266" y="237"/>
                          <a:pt x="1266" y="243"/>
                        </a:cubicBezTo>
                        <a:cubicBezTo>
                          <a:pt x="1266" y="248"/>
                          <a:pt x="1265" y="377"/>
                          <a:pt x="1265" y="377"/>
                        </a:cubicBezTo>
                        <a:cubicBezTo>
                          <a:pt x="1265" y="377"/>
                          <a:pt x="1258" y="413"/>
                          <a:pt x="1244" y="424"/>
                        </a:cubicBezTo>
                        <a:cubicBezTo>
                          <a:pt x="1231" y="435"/>
                          <a:pt x="1200" y="459"/>
                          <a:pt x="1200" y="463"/>
                        </a:cubicBezTo>
                        <a:cubicBezTo>
                          <a:pt x="1199" y="467"/>
                          <a:pt x="1204" y="480"/>
                          <a:pt x="1200" y="480"/>
                        </a:cubicBezTo>
                        <a:cubicBezTo>
                          <a:pt x="1196" y="480"/>
                          <a:pt x="1183" y="479"/>
                          <a:pt x="1177" y="480"/>
                        </a:cubicBezTo>
                        <a:cubicBezTo>
                          <a:pt x="1171" y="481"/>
                          <a:pt x="1109" y="501"/>
                          <a:pt x="1086" y="518"/>
                        </a:cubicBezTo>
                        <a:cubicBezTo>
                          <a:pt x="1062" y="535"/>
                          <a:pt x="983" y="565"/>
                          <a:pt x="976" y="570"/>
                        </a:cubicBezTo>
                        <a:cubicBezTo>
                          <a:pt x="968" y="575"/>
                          <a:pt x="942" y="585"/>
                          <a:pt x="942" y="585"/>
                        </a:cubicBezTo>
                        <a:cubicBezTo>
                          <a:pt x="895" y="582"/>
                          <a:pt x="895" y="582"/>
                          <a:pt x="895" y="582"/>
                        </a:cubicBezTo>
                        <a:cubicBezTo>
                          <a:pt x="895" y="582"/>
                          <a:pt x="862" y="595"/>
                          <a:pt x="846" y="610"/>
                        </a:cubicBezTo>
                        <a:cubicBezTo>
                          <a:pt x="831" y="625"/>
                          <a:pt x="832" y="651"/>
                          <a:pt x="832" y="651"/>
                        </a:cubicBezTo>
                        <a:cubicBezTo>
                          <a:pt x="832" y="651"/>
                          <a:pt x="793" y="669"/>
                          <a:pt x="790" y="677"/>
                        </a:cubicBezTo>
                        <a:cubicBezTo>
                          <a:pt x="788" y="685"/>
                          <a:pt x="792" y="714"/>
                          <a:pt x="810" y="716"/>
                        </a:cubicBezTo>
                        <a:cubicBezTo>
                          <a:pt x="828" y="718"/>
                          <a:pt x="845" y="715"/>
                          <a:pt x="861" y="713"/>
                        </a:cubicBezTo>
                        <a:cubicBezTo>
                          <a:pt x="877" y="712"/>
                          <a:pt x="886" y="691"/>
                          <a:pt x="903" y="699"/>
                        </a:cubicBezTo>
                        <a:cubicBezTo>
                          <a:pt x="920" y="708"/>
                          <a:pt x="964" y="800"/>
                          <a:pt x="963" y="803"/>
                        </a:cubicBezTo>
                        <a:cubicBezTo>
                          <a:pt x="962" y="805"/>
                          <a:pt x="945" y="835"/>
                          <a:pt x="946" y="839"/>
                        </a:cubicBezTo>
                        <a:cubicBezTo>
                          <a:pt x="948" y="843"/>
                          <a:pt x="939" y="894"/>
                          <a:pt x="934" y="899"/>
                        </a:cubicBezTo>
                        <a:cubicBezTo>
                          <a:pt x="930" y="903"/>
                          <a:pt x="920" y="906"/>
                          <a:pt x="922" y="913"/>
                        </a:cubicBezTo>
                        <a:cubicBezTo>
                          <a:pt x="924" y="921"/>
                          <a:pt x="946" y="947"/>
                          <a:pt x="949" y="951"/>
                        </a:cubicBezTo>
                        <a:cubicBezTo>
                          <a:pt x="952" y="954"/>
                          <a:pt x="982" y="957"/>
                          <a:pt x="982" y="957"/>
                        </a:cubicBezTo>
                        <a:cubicBezTo>
                          <a:pt x="982" y="957"/>
                          <a:pt x="980" y="983"/>
                          <a:pt x="1002" y="995"/>
                        </a:cubicBezTo>
                        <a:cubicBezTo>
                          <a:pt x="1023" y="1008"/>
                          <a:pt x="1024" y="1037"/>
                          <a:pt x="1032" y="1047"/>
                        </a:cubicBezTo>
                        <a:cubicBezTo>
                          <a:pt x="1041" y="1057"/>
                          <a:pt x="1058" y="1092"/>
                          <a:pt x="1071" y="1099"/>
                        </a:cubicBezTo>
                        <a:cubicBezTo>
                          <a:pt x="1084" y="1107"/>
                          <a:pt x="1088" y="1135"/>
                          <a:pt x="1112" y="1135"/>
                        </a:cubicBezTo>
                        <a:cubicBezTo>
                          <a:pt x="1136" y="1135"/>
                          <a:pt x="1156" y="1141"/>
                          <a:pt x="1166" y="1140"/>
                        </a:cubicBezTo>
                        <a:cubicBezTo>
                          <a:pt x="1176" y="1139"/>
                          <a:pt x="1214" y="1139"/>
                          <a:pt x="1214" y="1139"/>
                        </a:cubicBezTo>
                        <a:cubicBezTo>
                          <a:pt x="1214" y="1139"/>
                          <a:pt x="1272" y="1162"/>
                          <a:pt x="1286" y="1165"/>
                        </a:cubicBezTo>
                        <a:cubicBezTo>
                          <a:pt x="1301" y="1169"/>
                          <a:pt x="1337" y="1178"/>
                          <a:pt x="1349" y="1178"/>
                        </a:cubicBezTo>
                        <a:cubicBezTo>
                          <a:pt x="1361" y="1178"/>
                          <a:pt x="1404" y="1184"/>
                          <a:pt x="1412" y="1191"/>
                        </a:cubicBezTo>
                        <a:cubicBezTo>
                          <a:pt x="1421" y="1197"/>
                          <a:pt x="1426" y="1211"/>
                          <a:pt x="1426" y="1211"/>
                        </a:cubicBezTo>
                        <a:cubicBezTo>
                          <a:pt x="1426" y="1211"/>
                          <a:pt x="1400" y="1258"/>
                          <a:pt x="1382" y="1267"/>
                        </a:cubicBezTo>
                        <a:cubicBezTo>
                          <a:pt x="1364" y="1275"/>
                          <a:pt x="1326" y="1281"/>
                          <a:pt x="1326" y="1281"/>
                        </a:cubicBezTo>
                        <a:cubicBezTo>
                          <a:pt x="1326" y="1281"/>
                          <a:pt x="1284" y="1289"/>
                          <a:pt x="1268" y="1299"/>
                        </a:cubicBezTo>
                        <a:cubicBezTo>
                          <a:pt x="1252" y="1308"/>
                          <a:pt x="1245" y="1310"/>
                          <a:pt x="1244" y="1317"/>
                        </a:cubicBezTo>
                        <a:cubicBezTo>
                          <a:pt x="1244" y="1325"/>
                          <a:pt x="1244" y="1375"/>
                          <a:pt x="1247" y="1376"/>
                        </a:cubicBezTo>
                        <a:cubicBezTo>
                          <a:pt x="1250" y="1377"/>
                          <a:pt x="1297" y="1419"/>
                          <a:pt x="1282" y="1419"/>
                        </a:cubicBezTo>
                        <a:cubicBezTo>
                          <a:pt x="1268" y="1419"/>
                          <a:pt x="1256" y="1419"/>
                          <a:pt x="1250" y="1419"/>
                        </a:cubicBezTo>
                        <a:cubicBezTo>
                          <a:pt x="1245" y="1419"/>
                          <a:pt x="1215" y="1395"/>
                          <a:pt x="1204" y="1396"/>
                        </a:cubicBezTo>
                        <a:cubicBezTo>
                          <a:pt x="1194" y="1397"/>
                          <a:pt x="1100" y="1379"/>
                          <a:pt x="1091" y="1383"/>
                        </a:cubicBezTo>
                        <a:cubicBezTo>
                          <a:pt x="1082" y="1387"/>
                          <a:pt x="1072" y="1395"/>
                          <a:pt x="1070" y="1395"/>
                        </a:cubicBezTo>
                        <a:cubicBezTo>
                          <a:pt x="1067" y="1395"/>
                          <a:pt x="1043" y="1391"/>
                          <a:pt x="1040" y="1371"/>
                        </a:cubicBezTo>
                        <a:cubicBezTo>
                          <a:pt x="1038" y="1350"/>
                          <a:pt x="1028" y="1289"/>
                          <a:pt x="1023" y="1269"/>
                        </a:cubicBezTo>
                        <a:cubicBezTo>
                          <a:pt x="1018" y="1249"/>
                          <a:pt x="1016" y="1212"/>
                          <a:pt x="1004" y="1201"/>
                        </a:cubicBezTo>
                        <a:cubicBezTo>
                          <a:pt x="992" y="1191"/>
                          <a:pt x="982" y="1189"/>
                          <a:pt x="981" y="1185"/>
                        </a:cubicBezTo>
                        <a:cubicBezTo>
                          <a:pt x="980" y="1181"/>
                          <a:pt x="982" y="1167"/>
                          <a:pt x="978" y="1167"/>
                        </a:cubicBezTo>
                        <a:cubicBezTo>
                          <a:pt x="975" y="1167"/>
                          <a:pt x="957" y="1155"/>
                          <a:pt x="956" y="1148"/>
                        </a:cubicBezTo>
                        <a:cubicBezTo>
                          <a:pt x="956" y="1141"/>
                          <a:pt x="948" y="1127"/>
                          <a:pt x="948" y="1127"/>
                        </a:cubicBezTo>
                        <a:cubicBezTo>
                          <a:pt x="906" y="1125"/>
                          <a:pt x="906" y="1125"/>
                          <a:pt x="906" y="1125"/>
                        </a:cubicBezTo>
                        <a:cubicBezTo>
                          <a:pt x="906" y="1125"/>
                          <a:pt x="870" y="1148"/>
                          <a:pt x="860" y="1153"/>
                        </a:cubicBezTo>
                        <a:cubicBezTo>
                          <a:pt x="851" y="1157"/>
                          <a:pt x="841" y="1159"/>
                          <a:pt x="836" y="1159"/>
                        </a:cubicBezTo>
                        <a:cubicBezTo>
                          <a:pt x="830" y="1160"/>
                          <a:pt x="778" y="1160"/>
                          <a:pt x="778" y="1160"/>
                        </a:cubicBezTo>
                        <a:cubicBezTo>
                          <a:pt x="778" y="1160"/>
                          <a:pt x="758" y="1156"/>
                          <a:pt x="758" y="1148"/>
                        </a:cubicBezTo>
                        <a:cubicBezTo>
                          <a:pt x="758" y="1140"/>
                          <a:pt x="748" y="1137"/>
                          <a:pt x="746" y="1121"/>
                        </a:cubicBezTo>
                        <a:cubicBezTo>
                          <a:pt x="744" y="1105"/>
                          <a:pt x="736" y="1088"/>
                          <a:pt x="731" y="1085"/>
                        </a:cubicBezTo>
                        <a:cubicBezTo>
                          <a:pt x="726" y="1083"/>
                          <a:pt x="695" y="1077"/>
                          <a:pt x="687" y="1083"/>
                        </a:cubicBezTo>
                        <a:cubicBezTo>
                          <a:pt x="679" y="1089"/>
                          <a:pt x="668" y="1108"/>
                          <a:pt x="652" y="1106"/>
                        </a:cubicBezTo>
                        <a:cubicBezTo>
                          <a:pt x="636" y="1104"/>
                          <a:pt x="590" y="1073"/>
                          <a:pt x="570" y="1067"/>
                        </a:cubicBezTo>
                        <a:cubicBezTo>
                          <a:pt x="550" y="1062"/>
                          <a:pt x="545" y="1055"/>
                          <a:pt x="525" y="1055"/>
                        </a:cubicBezTo>
                        <a:cubicBezTo>
                          <a:pt x="505" y="1055"/>
                          <a:pt x="493" y="1044"/>
                          <a:pt x="485" y="1048"/>
                        </a:cubicBezTo>
                        <a:cubicBezTo>
                          <a:pt x="477" y="1052"/>
                          <a:pt x="484" y="1061"/>
                          <a:pt x="474" y="1059"/>
                        </a:cubicBezTo>
                        <a:cubicBezTo>
                          <a:pt x="467" y="1057"/>
                          <a:pt x="462" y="1053"/>
                          <a:pt x="457" y="1050"/>
                        </a:cubicBezTo>
                        <a:cubicBezTo>
                          <a:pt x="456" y="1049"/>
                          <a:pt x="454" y="1048"/>
                          <a:pt x="452" y="1048"/>
                        </a:cubicBezTo>
                        <a:cubicBezTo>
                          <a:pt x="445" y="1047"/>
                          <a:pt x="422" y="1057"/>
                          <a:pt x="407" y="1068"/>
                        </a:cubicBezTo>
                        <a:cubicBezTo>
                          <a:pt x="392" y="1079"/>
                          <a:pt x="406" y="1084"/>
                          <a:pt x="385" y="1084"/>
                        </a:cubicBezTo>
                        <a:cubicBezTo>
                          <a:pt x="364" y="1084"/>
                          <a:pt x="291" y="1084"/>
                          <a:pt x="291" y="1084"/>
                        </a:cubicBezTo>
                        <a:cubicBezTo>
                          <a:pt x="291" y="1084"/>
                          <a:pt x="271" y="1102"/>
                          <a:pt x="260" y="1115"/>
                        </a:cubicBezTo>
                        <a:cubicBezTo>
                          <a:pt x="248" y="1129"/>
                          <a:pt x="232" y="1131"/>
                          <a:pt x="232" y="1147"/>
                        </a:cubicBezTo>
                        <a:cubicBezTo>
                          <a:pt x="233" y="1163"/>
                          <a:pt x="228" y="1161"/>
                          <a:pt x="224" y="1165"/>
                        </a:cubicBezTo>
                        <a:cubicBezTo>
                          <a:pt x="220" y="1169"/>
                          <a:pt x="188" y="1203"/>
                          <a:pt x="180" y="1218"/>
                        </a:cubicBezTo>
                        <a:cubicBezTo>
                          <a:pt x="171" y="1233"/>
                          <a:pt x="164" y="1246"/>
                          <a:pt x="155" y="1253"/>
                        </a:cubicBezTo>
                        <a:cubicBezTo>
                          <a:pt x="146" y="1261"/>
                          <a:pt x="140" y="1274"/>
                          <a:pt x="134" y="1274"/>
                        </a:cubicBezTo>
                        <a:cubicBezTo>
                          <a:pt x="129" y="1274"/>
                          <a:pt x="99" y="1273"/>
                          <a:pt x="94" y="1275"/>
                        </a:cubicBezTo>
                        <a:cubicBezTo>
                          <a:pt x="90" y="1278"/>
                          <a:pt x="64" y="1278"/>
                          <a:pt x="62" y="1281"/>
                        </a:cubicBezTo>
                        <a:cubicBezTo>
                          <a:pt x="59" y="1283"/>
                          <a:pt x="44" y="1307"/>
                          <a:pt x="44" y="1310"/>
                        </a:cubicBezTo>
                        <a:cubicBezTo>
                          <a:pt x="44" y="1313"/>
                          <a:pt x="45" y="1412"/>
                          <a:pt x="45" y="1412"/>
                        </a:cubicBezTo>
                        <a:cubicBezTo>
                          <a:pt x="45" y="1412"/>
                          <a:pt x="29" y="1420"/>
                          <a:pt x="29" y="1437"/>
                        </a:cubicBezTo>
                        <a:cubicBezTo>
                          <a:pt x="29" y="1453"/>
                          <a:pt x="39" y="1485"/>
                          <a:pt x="42" y="1502"/>
                        </a:cubicBezTo>
                        <a:cubicBezTo>
                          <a:pt x="44" y="1519"/>
                          <a:pt x="30" y="1532"/>
                          <a:pt x="46" y="1536"/>
                        </a:cubicBezTo>
                        <a:cubicBezTo>
                          <a:pt x="63" y="1540"/>
                          <a:pt x="74" y="1574"/>
                          <a:pt x="80" y="1574"/>
                        </a:cubicBezTo>
                        <a:cubicBezTo>
                          <a:pt x="87" y="1574"/>
                          <a:pt x="93" y="1575"/>
                          <a:pt x="93" y="1579"/>
                        </a:cubicBezTo>
                        <a:cubicBezTo>
                          <a:pt x="93" y="1583"/>
                          <a:pt x="90" y="1691"/>
                          <a:pt x="90" y="1691"/>
                        </a:cubicBezTo>
                        <a:cubicBezTo>
                          <a:pt x="90" y="1691"/>
                          <a:pt x="44" y="1735"/>
                          <a:pt x="44" y="1747"/>
                        </a:cubicBezTo>
                        <a:cubicBezTo>
                          <a:pt x="44" y="1758"/>
                          <a:pt x="42" y="1767"/>
                          <a:pt x="34" y="1769"/>
                        </a:cubicBezTo>
                        <a:cubicBezTo>
                          <a:pt x="31" y="1769"/>
                          <a:pt x="28" y="1769"/>
                          <a:pt x="25" y="1768"/>
                        </a:cubicBezTo>
                        <a:cubicBezTo>
                          <a:pt x="24" y="1771"/>
                          <a:pt x="24" y="1774"/>
                          <a:pt x="24" y="1775"/>
                        </a:cubicBezTo>
                        <a:cubicBezTo>
                          <a:pt x="25" y="1780"/>
                          <a:pt x="4" y="1829"/>
                          <a:pt x="2" y="1842"/>
                        </a:cubicBezTo>
                        <a:cubicBezTo>
                          <a:pt x="0" y="1855"/>
                          <a:pt x="11" y="1875"/>
                          <a:pt x="22" y="1901"/>
                        </a:cubicBezTo>
                        <a:cubicBezTo>
                          <a:pt x="30" y="1918"/>
                          <a:pt x="42" y="1923"/>
                          <a:pt x="51" y="1925"/>
                        </a:cubicBezTo>
                        <a:cubicBezTo>
                          <a:pt x="56" y="1926"/>
                          <a:pt x="60" y="1926"/>
                          <a:pt x="63" y="1927"/>
                        </a:cubicBezTo>
                        <a:cubicBezTo>
                          <a:pt x="73" y="1928"/>
                          <a:pt x="106" y="1955"/>
                          <a:pt x="106" y="1955"/>
                        </a:cubicBezTo>
                        <a:cubicBezTo>
                          <a:pt x="106" y="1955"/>
                          <a:pt x="173" y="1953"/>
                          <a:pt x="182" y="1955"/>
                        </a:cubicBezTo>
                        <a:cubicBezTo>
                          <a:pt x="192" y="1958"/>
                          <a:pt x="198" y="1971"/>
                          <a:pt x="204" y="1981"/>
                        </a:cubicBezTo>
                        <a:cubicBezTo>
                          <a:pt x="209" y="1991"/>
                          <a:pt x="202" y="2034"/>
                          <a:pt x="206" y="2067"/>
                        </a:cubicBezTo>
                        <a:cubicBezTo>
                          <a:pt x="210" y="2099"/>
                          <a:pt x="226" y="2112"/>
                          <a:pt x="226" y="2112"/>
                        </a:cubicBezTo>
                        <a:cubicBezTo>
                          <a:pt x="226" y="2112"/>
                          <a:pt x="232" y="2258"/>
                          <a:pt x="232" y="2263"/>
                        </a:cubicBezTo>
                        <a:cubicBezTo>
                          <a:pt x="232" y="2269"/>
                          <a:pt x="237" y="2287"/>
                          <a:pt x="244" y="2290"/>
                        </a:cubicBezTo>
                        <a:cubicBezTo>
                          <a:pt x="252" y="2293"/>
                          <a:pt x="265" y="2275"/>
                          <a:pt x="288" y="2262"/>
                        </a:cubicBezTo>
                        <a:cubicBezTo>
                          <a:pt x="312" y="2249"/>
                          <a:pt x="325" y="2241"/>
                          <a:pt x="346" y="2243"/>
                        </a:cubicBezTo>
                        <a:cubicBezTo>
                          <a:pt x="368" y="2244"/>
                          <a:pt x="386" y="2260"/>
                          <a:pt x="386" y="2260"/>
                        </a:cubicBezTo>
                        <a:cubicBezTo>
                          <a:pt x="386" y="2260"/>
                          <a:pt x="419" y="2289"/>
                          <a:pt x="422" y="2305"/>
                        </a:cubicBezTo>
                        <a:cubicBezTo>
                          <a:pt x="424" y="2321"/>
                          <a:pt x="434" y="2341"/>
                          <a:pt x="436" y="2345"/>
                        </a:cubicBezTo>
                        <a:cubicBezTo>
                          <a:pt x="439" y="2350"/>
                          <a:pt x="444" y="2380"/>
                          <a:pt x="443" y="2384"/>
                        </a:cubicBezTo>
                        <a:cubicBezTo>
                          <a:pt x="442" y="2388"/>
                          <a:pt x="434" y="2406"/>
                          <a:pt x="428" y="2427"/>
                        </a:cubicBezTo>
                        <a:cubicBezTo>
                          <a:pt x="422" y="2447"/>
                          <a:pt x="407" y="2464"/>
                          <a:pt x="398" y="2479"/>
                        </a:cubicBezTo>
                        <a:cubicBezTo>
                          <a:pt x="390" y="2493"/>
                          <a:pt x="406" y="2527"/>
                          <a:pt x="408" y="2536"/>
                        </a:cubicBezTo>
                        <a:cubicBezTo>
                          <a:pt x="410" y="2545"/>
                          <a:pt x="474" y="2533"/>
                          <a:pt x="477" y="2535"/>
                        </a:cubicBezTo>
                        <a:cubicBezTo>
                          <a:pt x="480" y="2537"/>
                          <a:pt x="496" y="2562"/>
                          <a:pt x="500" y="2567"/>
                        </a:cubicBezTo>
                        <a:cubicBezTo>
                          <a:pt x="504" y="2573"/>
                          <a:pt x="503" y="2582"/>
                          <a:pt x="508" y="2601"/>
                        </a:cubicBezTo>
                        <a:cubicBezTo>
                          <a:pt x="512" y="2621"/>
                          <a:pt x="536" y="2625"/>
                          <a:pt x="537" y="2633"/>
                        </a:cubicBezTo>
                        <a:cubicBezTo>
                          <a:pt x="538" y="2641"/>
                          <a:pt x="570" y="2644"/>
                          <a:pt x="597" y="2647"/>
                        </a:cubicBezTo>
                        <a:cubicBezTo>
                          <a:pt x="624" y="2651"/>
                          <a:pt x="664" y="2687"/>
                          <a:pt x="664" y="2687"/>
                        </a:cubicBezTo>
                        <a:cubicBezTo>
                          <a:pt x="834" y="2683"/>
                          <a:pt x="834" y="2683"/>
                          <a:pt x="834" y="2683"/>
                        </a:cubicBezTo>
                        <a:cubicBezTo>
                          <a:pt x="834" y="2683"/>
                          <a:pt x="866" y="2680"/>
                          <a:pt x="871" y="2680"/>
                        </a:cubicBezTo>
                        <a:cubicBezTo>
                          <a:pt x="876" y="2680"/>
                          <a:pt x="911" y="2650"/>
                          <a:pt x="920" y="2647"/>
                        </a:cubicBezTo>
                        <a:cubicBezTo>
                          <a:pt x="928" y="2643"/>
                          <a:pt x="932" y="2634"/>
                          <a:pt x="932" y="2625"/>
                        </a:cubicBezTo>
                        <a:cubicBezTo>
                          <a:pt x="932" y="2615"/>
                          <a:pt x="960" y="2587"/>
                          <a:pt x="962" y="2583"/>
                        </a:cubicBezTo>
                        <a:cubicBezTo>
                          <a:pt x="964" y="2578"/>
                          <a:pt x="988" y="2572"/>
                          <a:pt x="999" y="2575"/>
                        </a:cubicBezTo>
                        <a:cubicBezTo>
                          <a:pt x="1010" y="2577"/>
                          <a:pt x="1020" y="2569"/>
                          <a:pt x="1031" y="2569"/>
                        </a:cubicBezTo>
                        <a:cubicBezTo>
                          <a:pt x="1042" y="2569"/>
                          <a:pt x="1041" y="2551"/>
                          <a:pt x="1041" y="2537"/>
                        </a:cubicBezTo>
                        <a:cubicBezTo>
                          <a:pt x="1041" y="2522"/>
                          <a:pt x="1020" y="2500"/>
                          <a:pt x="1014" y="2495"/>
                        </a:cubicBezTo>
                        <a:cubicBezTo>
                          <a:pt x="1008" y="2489"/>
                          <a:pt x="998" y="2493"/>
                          <a:pt x="981" y="2475"/>
                        </a:cubicBezTo>
                        <a:cubicBezTo>
                          <a:pt x="964" y="2458"/>
                          <a:pt x="1003" y="2436"/>
                          <a:pt x="1003" y="2436"/>
                        </a:cubicBezTo>
                        <a:cubicBezTo>
                          <a:pt x="1003" y="2436"/>
                          <a:pt x="1030" y="2429"/>
                          <a:pt x="1044" y="2429"/>
                        </a:cubicBezTo>
                        <a:cubicBezTo>
                          <a:pt x="1058" y="2430"/>
                          <a:pt x="1122" y="2462"/>
                          <a:pt x="1124" y="2463"/>
                        </a:cubicBezTo>
                        <a:cubicBezTo>
                          <a:pt x="1126" y="2463"/>
                          <a:pt x="1170" y="2465"/>
                          <a:pt x="1176" y="2467"/>
                        </a:cubicBezTo>
                        <a:cubicBezTo>
                          <a:pt x="1182" y="2468"/>
                          <a:pt x="1218" y="2493"/>
                          <a:pt x="1221" y="2495"/>
                        </a:cubicBezTo>
                        <a:cubicBezTo>
                          <a:pt x="1224" y="2496"/>
                          <a:pt x="1243" y="2510"/>
                          <a:pt x="1258" y="2518"/>
                        </a:cubicBezTo>
                        <a:cubicBezTo>
                          <a:pt x="1274" y="2526"/>
                          <a:pt x="1288" y="2547"/>
                          <a:pt x="1304" y="2553"/>
                        </a:cubicBezTo>
                        <a:cubicBezTo>
                          <a:pt x="1320" y="2560"/>
                          <a:pt x="1356" y="2561"/>
                          <a:pt x="1356" y="2561"/>
                        </a:cubicBezTo>
                        <a:cubicBezTo>
                          <a:pt x="1356" y="2561"/>
                          <a:pt x="1394" y="2576"/>
                          <a:pt x="1408" y="2582"/>
                        </a:cubicBezTo>
                        <a:cubicBezTo>
                          <a:pt x="1422" y="2588"/>
                          <a:pt x="1448" y="2597"/>
                          <a:pt x="1466" y="2615"/>
                        </a:cubicBezTo>
                        <a:cubicBezTo>
                          <a:pt x="1484" y="2634"/>
                          <a:pt x="1501" y="2637"/>
                          <a:pt x="1513" y="2637"/>
                        </a:cubicBezTo>
                        <a:cubicBezTo>
                          <a:pt x="1525" y="2637"/>
                          <a:pt x="1540" y="2647"/>
                          <a:pt x="1555" y="2667"/>
                        </a:cubicBezTo>
                        <a:cubicBezTo>
                          <a:pt x="1570" y="2686"/>
                          <a:pt x="1594" y="2703"/>
                          <a:pt x="1600" y="2715"/>
                        </a:cubicBezTo>
                        <a:cubicBezTo>
                          <a:pt x="1605" y="2728"/>
                          <a:pt x="1609" y="2722"/>
                          <a:pt x="1615" y="2723"/>
                        </a:cubicBezTo>
                        <a:cubicBezTo>
                          <a:pt x="1619" y="2723"/>
                          <a:pt x="1641" y="2738"/>
                          <a:pt x="1658" y="2750"/>
                        </a:cubicBezTo>
                        <a:cubicBezTo>
                          <a:pt x="1661" y="2747"/>
                          <a:pt x="1664" y="2744"/>
                          <a:pt x="1666" y="2743"/>
                        </a:cubicBezTo>
                        <a:cubicBezTo>
                          <a:pt x="1674" y="2737"/>
                          <a:pt x="1682" y="2728"/>
                          <a:pt x="1698" y="2729"/>
                        </a:cubicBezTo>
                        <a:cubicBezTo>
                          <a:pt x="1714" y="2730"/>
                          <a:pt x="1746" y="2734"/>
                          <a:pt x="1759" y="2726"/>
                        </a:cubicBezTo>
                        <a:cubicBezTo>
                          <a:pt x="1772" y="2718"/>
                          <a:pt x="1816" y="2714"/>
                          <a:pt x="1821" y="2704"/>
                        </a:cubicBezTo>
                        <a:cubicBezTo>
                          <a:pt x="1826" y="2694"/>
                          <a:pt x="1835" y="2698"/>
                          <a:pt x="1846" y="2685"/>
                        </a:cubicBezTo>
                        <a:cubicBezTo>
                          <a:pt x="1857" y="2672"/>
                          <a:pt x="1859" y="2660"/>
                          <a:pt x="1870" y="2659"/>
                        </a:cubicBezTo>
                        <a:cubicBezTo>
                          <a:pt x="1882" y="2658"/>
                          <a:pt x="1926" y="2650"/>
                          <a:pt x="1938" y="2644"/>
                        </a:cubicBezTo>
                        <a:cubicBezTo>
                          <a:pt x="1950" y="2638"/>
                          <a:pt x="1960" y="2640"/>
                          <a:pt x="1973" y="2640"/>
                        </a:cubicBezTo>
                        <a:cubicBezTo>
                          <a:pt x="1976" y="2640"/>
                          <a:pt x="1985" y="2641"/>
                          <a:pt x="1997" y="2643"/>
                        </a:cubicBezTo>
                        <a:cubicBezTo>
                          <a:pt x="1985" y="2601"/>
                          <a:pt x="1963" y="2524"/>
                          <a:pt x="1964" y="2512"/>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526">
                    <a:extLst>
                      <a:ext uri="{FF2B5EF4-FFF2-40B4-BE49-F238E27FC236}">
                        <a16:creationId xmlns:a16="http://schemas.microsoft.com/office/drawing/2014/main" id="{D0344859-8D66-A1F5-42A3-2D601575C999}"/>
                      </a:ext>
                    </a:extLst>
                  </p:cNvPr>
                  <p:cNvSpPr>
                    <a:spLocks noChangeAspect="1"/>
                  </p:cNvSpPr>
                  <p:nvPr/>
                </p:nvSpPr>
                <p:spPr bwMode="auto">
                  <a:xfrm>
                    <a:off x="6440479" y="3524754"/>
                    <a:ext cx="734771" cy="709835"/>
                  </a:xfrm>
                  <a:custGeom>
                    <a:avLst/>
                    <a:gdLst>
                      <a:gd name="T0" fmla="*/ 1660 w 1880"/>
                      <a:gd name="T1" fmla="*/ 712 h 1816"/>
                      <a:gd name="T2" fmla="*/ 1503 w 1880"/>
                      <a:gd name="T3" fmla="*/ 636 h 1816"/>
                      <a:gd name="T4" fmla="*/ 1368 w 1880"/>
                      <a:gd name="T5" fmla="*/ 570 h 1816"/>
                      <a:gd name="T6" fmla="*/ 1191 w 1880"/>
                      <a:gd name="T7" fmla="*/ 504 h 1816"/>
                      <a:gd name="T8" fmla="*/ 1161 w 1880"/>
                      <a:gd name="T9" fmla="*/ 570 h 1816"/>
                      <a:gd name="T10" fmla="*/ 1146 w 1880"/>
                      <a:gd name="T11" fmla="*/ 650 h 1816"/>
                      <a:gd name="T12" fmla="*/ 1067 w 1880"/>
                      <a:gd name="T13" fmla="*/ 722 h 1816"/>
                      <a:gd name="T14" fmla="*/ 811 w 1880"/>
                      <a:gd name="T15" fmla="*/ 762 h 1816"/>
                      <a:gd name="T16" fmla="*/ 655 w 1880"/>
                      <a:gd name="T17" fmla="*/ 676 h 1816"/>
                      <a:gd name="T18" fmla="*/ 555 w 1880"/>
                      <a:gd name="T19" fmla="*/ 611 h 1816"/>
                      <a:gd name="T20" fmla="*/ 590 w 1880"/>
                      <a:gd name="T21" fmla="*/ 459 h 1816"/>
                      <a:gd name="T22" fmla="*/ 533 w 1880"/>
                      <a:gd name="T23" fmla="*/ 335 h 1816"/>
                      <a:gd name="T24" fmla="*/ 391 w 1880"/>
                      <a:gd name="T25" fmla="*/ 365 h 1816"/>
                      <a:gd name="T26" fmla="*/ 353 w 1880"/>
                      <a:gd name="T27" fmla="*/ 142 h 1816"/>
                      <a:gd name="T28" fmla="*/ 253 w 1880"/>
                      <a:gd name="T29" fmla="*/ 30 h 1816"/>
                      <a:gd name="T30" fmla="*/ 195 w 1880"/>
                      <a:gd name="T31" fmla="*/ 94 h 1816"/>
                      <a:gd name="T32" fmla="*/ 101 w 1880"/>
                      <a:gd name="T33" fmla="*/ 193 h 1816"/>
                      <a:gd name="T34" fmla="*/ 105 w 1880"/>
                      <a:gd name="T35" fmla="*/ 341 h 1816"/>
                      <a:gd name="T36" fmla="*/ 42 w 1880"/>
                      <a:gd name="T37" fmla="*/ 660 h 1816"/>
                      <a:gd name="T38" fmla="*/ 40 w 1880"/>
                      <a:gd name="T39" fmla="*/ 860 h 1816"/>
                      <a:gd name="T40" fmla="*/ 123 w 1880"/>
                      <a:gd name="T41" fmla="*/ 937 h 1816"/>
                      <a:gd name="T42" fmla="*/ 125 w 1880"/>
                      <a:gd name="T43" fmla="*/ 1052 h 1816"/>
                      <a:gd name="T44" fmla="*/ 204 w 1880"/>
                      <a:gd name="T45" fmla="*/ 1154 h 1816"/>
                      <a:gd name="T46" fmla="*/ 315 w 1880"/>
                      <a:gd name="T47" fmla="*/ 1207 h 1816"/>
                      <a:gd name="T48" fmla="*/ 432 w 1880"/>
                      <a:gd name="T49" fmla="*/ 1228 h 1816"/>
                      <a:gd name="T50" fmla="*/ 405 w 1880"/>
                      <a:gd name="T51" fmla="*/ 1326 h 1816"/>
                      <a:gd name="T52" fmla="*/ 335 w 1880"/>
                      <a:gd name="T53" fmla="*/ 1410 h 1816"/>
                      <a:gd name="T54" fmla="*/ 302 w 1880"/>
                      <a:gd name="T55" fmla="*/ 1526 h 1816"/>
                      <a:gd name="T56" fmla="*/ 348 w 1880"/>
                      <a:gd name="T57" fmla="*/ 1593 h 1816"/>
                      <a:gd name="T58" fmla="*/ 391 w 1880"/>
                      <a:gd name="T59" fmla="*/ 1676 h 1816"/>
                      <a:gd name="T60" fmla="*/ 457 w 1880"/>
                      <a:gd name="T61" fmla="*/ 1727 h 1816"/>
                      <a:gd name="T62" fmla="*/ 621 w 1880"/>
                      <a:gd name="T63" fmla="*/ 1706 h 1816"/>
                      <a:gd name="T64" fmla="*/ 829 w 1880"/>
                      <a:gd name="T65" fmla="*/ 1750 h 1816"/>
                      <a:gd name="T66" fmla="*/ 955 w 1880"/>
                      <a:gd name="T67" fmla="*/ 1791 h 1816"/>
                      <a:gd name="T68" fmla="*/ 1108 w 1880"/>
                      <a:gd name="T69" fmla="*/ 1789 h 1816"/>
                      <a:gd name="T70" fmla="*/ 1183 w 1880"/>
                      <a:gd name="T71" fmla="*/ 1753 h 1816"/>
                      <a:gd name="T72" fmla="*/ 1270 w 1880"/>
                      <a:gd name="T73" fmla="*/ 1687 h 1816"/>
                      <a:gd name="T74" fmla="*/ 1392 w 1880"/>
                      <a:gd name="T75" fmla="*/ 1610 h 1816"/>
                      <a:gd name="T76" fmla="*/ 1446 w 1880"/>
                      <a:gd name="T77" fmla="*/ 1548 h 1816"/>
                      <a:gd name="T78" fmla="*/ 1527 w 1880"/>
                      <a:gd name="T79" fmla="*/ 1466 h 1816"/>
                      <a:gd name="T80" fmla="*/ 1605 w 1880"/>
                      <a:gd name="T81" fmla="*/ 1408 h 1816"/>
                      <a:gd name="T82" fmla="*/ 1721 w 1880"/>
                      <a:gd name="T83" fmla="*/ 1340 h 1816"/>
                      <a:gd name="T84" fmla="*/ 1867 w 1880"/>
                      <a:gd name="T85" fmla="*/ 1293 h 1816"/>
                      <a:gd name="T86" fmla="*/ 1827 w 1880"/>
                      <a:gd name="T87" fmla="*/ 1168 h 1816"/>
                      <a:gd name="T88" fmla="*/ 1776 w 1880"/>
                      <a:gd name="T89" fmla="*/ 1021 h 1816"/>
                      <a:gd name="T90" fmla="*/ 1805 w 1880"/>
                      <a:gd name="T91" fmla="*/ 82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80" h="1816">
                        <a:moveTo>
                          <a:pt x="1747" y="790"/>
                        </a:moveTo>
                        <a:cubicBezTo>
                          <a:pt x="1741" y="778"/>
                          <a:pt x="1717" y="761"/>
                          <a:pt x="1702" y="742"/>
                        </a:cubicBezTo>
                        <a:cubicBezTo>
                          <a:pt x="1687" y="722"/>
                          <a:pt x="1672" y="712"/>
                          <a:pt x="1660" y="712"/>
                        </a:cubicBezTo>
                        <a:cubicBezTo>
                          <a:pt x="1648" y="712"/>
                          <a:pt x="1631" y="709"/>
                          <a:pt x="1613" y="690"/>
                        </a:cubicBezTo>
                        <a:cubicBezTo>
                          <a:pt x="1595" y="672"/>
                          <a:pt x="1569" y="663"/>
                          <a:pt x="1555" y="657"/>
                        </a:cubicBezTo>
                        <a:cubicBezTo>
                          <a:pt x="1541" y="651"/>
                          <a:pt x="1503" y="636"/>
                          <a:pt x="1503" y="636"/>
                        </a:cubicBezTo>
                        <a:cubicBezTo>
                          <a:pt x="1503" y="636"/>
                          <a:pt x="1467" y="635"/>
                          <a:pt x="1451" y="628"/>
                        </a:cubicBezTo>
                        <a:cubicBezTo>
                          <a:pt x="1435" y="622"/>
                          <a:pt x="1421" y="601"/>
                          <a:pt x="1405" y="593"/>
                        </a:cubicBezTo>
                        <a:cubicBezTo>
                          <a:pt x="1390" y="585"/>
                          <a:pt x="1371" y="571"/>
                          <a:pt x="1368" y="570"/>
                        </a:cubicBezTo>
                        <a:cubicBezTo>
                          <a:pt x="1365" y="568"/>
                          <a:pt x="1329" y="543"/>
                          <a:pt x="1323" y="542"/>
                        </a:cubicBezTo>
                        <a:cubicBezTo>
                          <a:pt x="1317" y="540"/>
                          <a:pt x="1273" y="538"/>
                          <a:pt x="1271" y="538"/>
                        </a:cubicBezTo>
                        <a:cubicBezTo>
                          <a:pt x="1269" y="537"/>
                          <a:pt x="1205" y="505"/>
                          <a:pt x="1191" y="504"/>
                        </a:cubicBezTo>
                        <a:cubicBezTo>
                          <a:pt x="1177" y="504"/>
                          <a:pt x="1150" y="511"/>
                          <a:pt x="1150" y="511"/>
                        </a:cubicBezTo>
                        <a:cubicBezTo>
                          <a:pt x="1150" y="511"/>
                          <a:pt x="1111" y="533"/>
                          <a:pt x="1128" y="550"/>
                        </a:cubicBezTo>
                        <a:cubicBezTo>
                          <a:pt x="1145" y="568"/>
                          <a:pt x="1155" y="564"/>
                          <a:pt x="1161" y="570"/>
                        </a:cubicBezTo>
                        <a:cubicBezTo>
                          <a:pt x="1167" y="575"/>
                          <a:pt x="1188" y="597"/>
                          <a:pt x="1188" y="612"/>
                        </a:cubicBezTo>
                        <a:cubicBezTo>
                          <a:pt x="1188" y="626"/>
                          <a:pt x="1189" y="644"/>
                          <a:pt x="1178" y="644"/>
                        </a:cubicBezTo>
                        <a:cubicBezTo>
                          <a:pt x="1167" y="644"/>
                          <a:pt x="1157" y="652"/>
                          <a:pt x="1146" y="650"/>
                        </a:cubicBezTo>
                        <a:cubicBezTo>
                          <a:pt x="1135" y="647"/>
                          <a:pt x="1111" y="653"/>
                          <a:pt x="1109" y="658"/>
                        </a:cubicBezTo>
                        <a:cubicBezTo>
                          <a:pt x="1107" y="662"/>
                          <a:pt x="1079" y="690"/>
                          <a:pt x="1079" y="700"/>
                        </a:cubicBezTo>
                        <a:cubicBezTo>
                          <a:pt x="1079" y="709"/>
                          <a:pt x="1075" y="718"/>
                          <a:pt x="1067" y="722"/>
                        </a:cubicBezTo>
                        <a:cubicBezTo>
                          <a:pt x="1058" y="725"/>
                          <a:pt x="1023" y="755"/>
                          <a:pt x="1018" y="755"/>
                        </a:cubicBezTo>
                        <a:cubicBezTo>
                          <a:pt x="1013" y="755"/>
                          <a:pt x="981" y="758"/>
                          <a:pt x="981" y="758"/>
                        </a:cubicBezTo>
                        <a:cubicBezTo>
                          <a:pt x="811" y="762"/>
                          <a:pt x="811" y="762"/>
                          <a:pt x="811" y="762"/>
                        </a:cubicBezTo>
                        <a:cubicBezTo>
                          <a:pt x="811" y="762"/>
                          <a:pt x="771" y="726"/>
                          <a:pt x="744" y="722"/>
                        </a:cubicBezTo>
                        <a:cubicBezTo>
                          <a:pt x="717" y="719"/>
                          <a:pt x="685" y="716"/>
                          <a:pt x="684" y="708"/>
                        </a:cubicBezTo>
                        <a:cubicBezTo>
                          <a:pt x="683" y="700"/>
                          <a:pt x="659" y="696"/>
                          <a:pt x="655" y="676"/>
                        </a:cubicBezTo>
                        <a:cubicBezTo>
                          <a:pt x="650" y="657"/>
                          <a:pt x="651" y="648"/>
                          <a:pt x="647" y="642"/>
                        </a:cubicBezTo>
                        <a:cubicBezTo>
                          <a:pt x="643" y="637"/>
                          <a:pt x="627" y="612"/>
                          <a:pt x="624" y="610"/>
                        </a:cubicBezTo>
                        <a:cubicBezTo>
                          <a:pt x="621" y="608"/>
                          <a:pt x="557" y="620"/>
                          <a:pt x="555" y="611"/>
                        </a:cubicBezTo>
                        <a:cubicBezTo>
                          <a:pt x="553" y="602"/>
                          <a:pt x="537" y="568"/>
                          <a:pt x="545" y="554"/>
                        </a:cubicBezTo>
                        <a:cubicBezTo>
                          <a:pt x="554" y="539"/>
                          <a:pt x="569" y="522"/>
                          <a:pt x="575" y="502"/>
                        </a:cubicBezTo>
                        <a:cubicBezTo>
                          <a:pt x="581" y="481"/>
                          <a:pt x="589" y="463"/>
                          <a:pt x="590" y="459"/>
                        </a:cubicBezTo>
                        <a:cubicBezTo>
                          <a:pt x="591" y="455"/>
                          <a:pt x="586" y="425"/>
                          <a:pt x="583" y="420"/>
                        </a:cubicBezTo>
                        <a:cubicBezTo>
                          <a:pt x="581" y="416"/>
                          <a:pt x="571" y="396"/>
                          <a:pt x="569" y="380"/>
                        </a:cubicBezTo>
                        <a:cubicBezTo>
                          <a:pt x="566" y="364"/>
                          <a:pt x="533" y="335"/>
                          <a:pt x="533" y="335"/>
                        </a:cubicBezTo>
                        <a:cubicBezTo>
                          <a:pt x="533" y="335"/>
                          <a:pt x="515" y="319"/>
                          <a:pt x="493" y="318"/>
                        </a:cubicBezTo>
                        <a:cubicBezTo>
                          <a:pt x="472" y="316"/>
                          <a:pt x="459" y="324"/>
                          <a:pt x="435" y="337"/>
                        </a:cubicBezTo>
                        <a:cubicBezTo>
                          <a:pt x="412" y="350"/>
                          <a:pt x="399" y="368"/>
                          <a:pt x="391" y="365"/>
                        </a:cubicBezTo>
                        <a:cubicBezTo>
                          <a:pt x="384" y="362"/>
                          <a:pt x="379" y="344"/>
                          <a:pt x="379" y="338"/>
                        </a:cubicBezTo>
                        <a:cubicBezTo>
                          <a:pt x="379" y="333"/>
                          <a:pt x="373" y="187"/>
                          <a:pt x="373" y="187"/>
                        </a:cubicBezTo>
                        <a:cubicBezTo>
                          <a:pt x="373" y="187"/>
                          <a:pt x="357" y="174"/>
                          <a:pt x="353" y="142"/>
                        </a:cubicBezTo>
                        <a:cubicBezTo>
                          <a:pt x="349" y="109"/>
                          <a:pt x="356" y="66"/>
                          <a:pt x="351" y="56"/>
                        </a:cubicBezTo>
                        <a:cubicBezTo>
                          <a:pt x="345" y="46"/>
                          <a:pt x="339" y="33"/>
                          <a:pt x="329" y="30"/>
                        </a:cubicBezTo>
                        <a:cubicBezTo>
                          <a:pt x="320" y="28"/>
                          <a:pt x="253" y="30"/>
                          <a:pt x="253" y="30"/>
                        </a:cubicBezTo>
                        <a:cubicBezTo>
                          <a:pt x="253" y="30"/>
                          <a:pt x="220" y="3"/>
                          <a:pt x="210" y="2"/>
                        </a:cubicBezTo>
                        <a:cubicBezTo>
                          <a:pt x="207" y="1"/>
                          <a:pt x="203" y="1"/>
                          <a:pt x="198" y="0"/>
                        </a:cubicBezTo>
                        <a:cubicBezTo>
                          <a:pt x="198" y="32"/>
                          <a:pt x="197" y="91"/>
                          <a:pt x="195" y="94"/>
                        </a:cubicBezTo>
                        <a:cubicBezTo>
                          <a:pt x="193" y="100"/>
                          <a:pt x="179" y="122"/>
                          <a:pt x="176" y="126"/>
                        </a:cubicBezTo>
                        <a:cubicBezTo>
                          <a:pt x="173" y="129"/>
                          <a:pt x="145" y="151"/>
                          <a:pt x="137" y="160"/>
                        </a:cubicBezTo>
                        <a:cubicBezTo>
                          <a:pt x="129" y="168"/>
                          <a:pt x="101" y="193"/>
                          <a:pt x="101" y="193"/>
                        </a:cubicBezTo>
                        <a:cubicBezTo>
                          <a:pt x="101" y="193"/>
                          <a:pt x="106" y="256"/>
                          <a:pt x="106" y="260"/>
                        </a:cubicBezTo>
                        <a:cubicBezTo>
                          <a:pt x="106" y="264"/>
                          <a:pt x="117" y="282"/>
                          <a:pt x="115" y="292"/>
                        </a:cubicBezTo>
                        <a:cubicBezTo>
                          <a:pt x="113" y="302"/>
                          <a:pt x="105" y="338"/>
                          <a:pt x="105" y="341"/>
                        </a:cubicBezTo>
                        <a:cubicBezTo>
                          <a:pt x="105" y="344"/>
                          <a:pt x="62" y="456"/>
                          <a:pt x="62" y="456"/>
                        </a:cubicBezTo>
                        <a:cubicBezTo>
                          <a:pt x="63" y="621"/>
                          <a:pt x="63" y="621"/>
                          <a:pt x="63" y="621"/>
                        </a:cubicBezTo>
                        <a:cubicBezTo>
                          <a:pt x="63" y="621"/>
                          <a:pt x="54" y="641"/>
                          <a:pt x="42" y="660"/>
                        </a:cubicBezTo>
                        <a:cubicBezTo>
                          <a:pt x="30" y="680"/>
                          <a:pt x="1" y="732"/>
                          <a:pt x="1" y="735"/>
                        </a:cubicBezTo>
                        <a:cubicBezTo>
                          <a:pt x="0" y="738"/>
                          <a:pt x="4" y="808"/>
                          <a:pt x="4" y="808"/>
                        </a:cubicBezTo>
                        <a:cubicBezTo>
                          <a:pt x="4" y="808"/>
                          <a:pt x="31" y="861"/>
                          <a:pt x="40" y="860"/>
                        </a:cubicBezTo>
                        <a:cubicBezTo>
                          <a:pt x="49" y="858"/>
                          <a:pt x="54" y="865"/>
                          <a:pt x="55" y="872"/>
                        </a:cubicBezTo>
                        <a:cubicBezTo>
                          <a:pt x="57" y="878"/>
                          <a:pt x="83" y="895"/>
                          <a:pt x="91" y="902"/>
                        </a:cubicBezTo>
                        <a:cubicBezTo>
                          <a:pt x="99" y="908"/>
                          <a:pt x="109" y="933"/>
                          <a:pt x="123" y="937"/>
                        </a:cubicBezTo>
                        <a:cubicBezTo>
                          <a:pt x="138" y="941"/>
                          <a:pt x="143" y="942"/>
                          <a:pt x="139" y="956"/>
                        </a:cubicBezTo>
                        <a:cubicBezTo>
                          <a:pt x="137" y="964"/>
                          <a:pt x="119" y="1002"/>
                          <a:pt x="105" y="1035"/>
                        </a:cubicBezTo>
                        <a:cubicBezTo>
                          <a:pt x="114" y="1042"/>
                          <a:pt x="124" y="1049"/>
                          <a:pt x="125" y="1052"/>
                        </a:cubicBezTo>
                        <a:cubicBezTo>
                          <a:pt x="128" y="1057"/>
                          <a:pt x="178" y="1051"/>
                          <a:pt x="178" y="1051"/>
                        </a:cubicBezTo>
                        <a:cubicBezTo>
                          <a:pt x="178" y="1051"/>
                          <a:pt x="189" y="1122"/>
                          <a:pt x="189" y="1129"/>
                        </a:cubicBezTo>
                        <a:cubicBezTo>
                          <a:pt x="190" y="1136"/>
                          <a:pt x="200" y="1142"/>
                          <a:pt x="204" y="1154"/>
                        </a:cubicBezTo>
                        <a:cubicBezTo>
                          <a:pt x="208" y="1166"/>
                          <a:pt x="202" y="1182"/>
                          <a:pt x="209" y="1194"/>
                        </a:cubicBezTo>
                        <a:cubicBezTo>
                          <a:pt x="217" y="1206"/>
                          <a:pt x="283" y="1204"/>
                          <a:pt x="287" y="1204"/>
                        </a:cubicBezTo>
                        <a:cubicBezTo>
                          <a:pt x="290" y="1204"/>
                          <a:pt x="306" y="1206"/>
                          <a:pt x="315" y="1207"/>
                        </a:cubicBezTo>
                        <a:cubicBezTo>
                          <a:pt x="325" y="1208"/>
                          <a:pt x="333" y="1204"/>
                          <a:pt x="343" y="1200"/>
                        </a:cubicBezTo>
                        <a:cubicBezTo>
                          <a:pt x="354" y="1196"/>
                          <a:pt x="425" y="1193"/>
                          <a:pt x="433" y="1193"/>
                        </a:cubicBezTo>
                        <a:cubicBezTo>
                          <a:pt x="441" y="1193"/>
                          <a:pt x="432" y="1228"/>
                          <a:pt x="432" y="1228"/>
                        </a:cubicBezTo>
                        <a:cubicBezTo>
                          <a:pt x="432" y="1228"/>
                          <a:pt x="440" y="1238"/>
                          <a:pt x="441" y="1242"/>
                        </a:cubicBezTo>
                        <a:cubicBezTo>
                          <a:pt x="443" y="1245"/>
                          <a:pt x="435" y="1258"/>
                          <a:pt x="431" y="1270"/>
                        </a:cubicBezTo>
                        <a:cubicBezTo>
                          <a:pt x="427" y="1282"/>
                          <a:pt x="408" y="1303"/>
                          <a:pt x="405" y="1326"/>
                        </a:cubicBezTo>
                        <a:cubicBezTo>
                          <a:pt x="401" y="1350"/>
                          <a:pt x="393" y="1345"/>
                          <a:pt x="382" y="1355"/>
                        </a:cubicBezTo>
                        <a:cubicBezTo>
                          <a:pt x="371" y="1365"/>
                          <a:pt x="357" y="1361"/>
                          <a:pt x="343" y="1367"/>
                        </a:cubicBezTo>
                        <a:cubicBezTo>
                          <a:pt x="330" y="1373"/>
                          <a:pt x="339" y="1404"/>
                          <a:pt x="335" y="1410"/>
                        </a:cubicBezTo>
                        <a:cubicBezTo>
                          <a:pt x="331" y="1416"/>
                          <a:pt x="287" y="1457"/>
                          <a:pt x="287" y="1464"/>
                        </a:cubicBezTo>
                        <a:cubicBezTo>
                          <a:pt x="287" y="1470"/>
                          <a:pt x="284" y="1492"/>
                          <a:pt x="284" y="1504"/>
                        </a:cubicBezTo>
                        <a:cubicBezTo>
                          <a:pt x="284" y="1516"/>
                          <a:pt x="291" y="1514"/>
                          <a:pt x="302" y="1526"/>
                        </a:cubicBezTo>
                        <a:cubicBezTo>
                          <a:pt x="313" y="1537"/>
                          <a:pt x="310" y="1544"/>
                          <a:pt x="311" y="1547"/>
                        </a:cubicBezTo>
                        <a:cubicBezTo>
                          <a:pt x="313" y="1550"/>
                          <a:pt x="322" y="1573"/>
                          <a:pt x="321" y="1582"/>
                        </a:cubicBezTo>
                        <a:cubicBezTo>
                          <a:pt x="321" y="1592"/>
                          <a:pt x="336" y="1587"/>
                          <a:pt x="348" y="1593"/>
                        </a:cubicBezTo>
                        <a:cubicBezTo>
                          <a:pt x="360" y="1599"/>
                          <a:pt x="365" y="1614"/>
                          <a:pt x="365" y="1624"/>
                        </a:cubicBezTo>
                        <a:cubicBezTo>
                          <a:pt x="365" y="1633"/>
                          <a:pt x="359" y="1654"/>
                          <a:pt x="354" y="1664"/>
                        </a:cubicBezTo>
                        <a:cubicBezTo>
                          <a:pt x="349" y="1675"/>
                          <a:pt x="383" y="1676"/>
                          <a:pt x="391" y="1676"/>
                        </a:cubicBezTo>
                        <a:cubicBezTo>
                          <a:pt x="400" y="1675"/>
                          <a:pt x="407" y="1664"/>
                          <a:pt x="407" y="1664"/>
                        </a:cubicBezTo>
                        <a:cubicBezTo>
                          <a:pt x="407" y="1664"/>
                          <a:pt x="436" y="1691"/>
                          <a:pt x="443" y="1702"/>
                        </a:cubicBezTo>
                        <a:cubicBezTo>
                          <a:pt x="451" y="1712"/>
                          <a:pt x="448" y="1718"/>
                          <a:pt x="457" y="1727"/>
                        </a:cubicBezTo>
                        <a:cubicBezTo>
                          <a:pt x="467" y="1736"/>
                          <a:pt x="489" y="1720"/>
                          <a:pt x="490" y="1715"/>
                        </a:cubicBezTo>
                        <a:cubicBezTo>
                          <a:pt x="491" y="1710"/>
                          <a:pt x="588" y="1720"/>
                          <a:pt x="590" y="1720"/>
                        </a:cubicBezTo>
                        <a:cubicBezTo>
                          <a:pt x="592" y="1720"/>
                          <a:pt x="609" y="1714"/>
                          <a:pt x="621" y="1706"/>
                        </a:cubicBezTo>
                        <a:cubicBezTo>
                          <a:pt x="634" y="1698"/>
                          <a:pt x="698" y="1702"/>
                          <a:pt x="702" y="1702"/>
                        </a:cubicBezTo>
                        <a:cubicBezTo>
                          <a:pt x="706" y="1702"/>
                          <a:pt x="748" y="1714"/>
                          <a:pt x="761" y="1714"/>
                        </a:cubicBezTo>
                        <a:cubicBezTo>
                          <a:pt x="775" y="1714"/>
                          <a:pt x="827" y="1750"/>
                          <a:pt x="829" y="1750"/>
                        </a:cubicBezTo>
                        <a:cubicBezTo>
                          <a:pt x="831" y="1750"/>
                          <a:pt x="841" y="1750"/>
                          <a:pt x="847" y="1752"/>
                        </a:cubicBezTo>
                        <a:cubicBezTo>
                          <a:pt x="852" y="1753"/>
                          <a:pt x="874" y="1788"/>
                          <a:pt x="874" y="1788"/>
                        </a:cubicBezTo>
                        <a:cubicBezTo>
                          <a:pt x="874" y="1788"/>
                          <a:pt x="936" y="1791"/>
                          <a:pt x="955" y="1791"/>
                        </a:cubicBezTo>
                        <a:cubicBezTo>
                          <a:pt x="968" y="1791"/>
                          <a:pt x="976" y="1805"/>
                          <a:pt x="982" y="1816"/>
                        </a:cubicBezTo>
                        <a:cubicBezTo>
                          <a:pt x="1006" y="1814"/>
                          <a:pt x="1044" y="1814"/>
                          <a:pt x="1053" y="1808"/>
                        </a:cubicBezTo>
                        <a:cubicBezTo>
                          <a:pt x="1065" y="1801"/>
                          <a:pt x="1099" y="1793"/>
                          <a:pt x="1108" y="1789"/>
                        </a:cubicBezTo>
                        <a:cubicBezTo>
                          <a:pt x="1117" y="1786"/>
                          <a:pt x="1130" y="1776"/>
                          <a:pt x="1135" y="1776"/>
                        </a:cubicBezTo>
                        <a:cubicBezTo>
                          <a:pt x="1139" y="1776"/>
                          <a:pt x="1157" y="1764"/>
                          <a:pt x="1164" y="1761"/>
                        </a:cubicBezTo>
                        <a:cubicBezTo>
                          <a:pt x="1171" y="1757"/>
                          <a:pt x="1176" y="1761"/>
                          <a:pt x="1183" y="1753"/>
                        </a:cubicBezTo>
                        <a:cubicBezTo>
                          <a:pt x="1190" y="1745"/>
                          <a:pt x="1200" y="1733"/>
                          <a:pt x="1211" y="1729"/>
                        </a:cubicBezTo>
                        <a:cubicBezTo>
                          <a:pt x="1223" y="1725"/>
                          <a:pt x="1241" y="1707"/>
                          <a:pt x="1248" y="1700"/>
                        </a:cubicBezTo>
                        <a:cubicBezTo>
                          <a:pt x="1254" y="1694"/>
                          <a:pt x="1258" y="1693"/>
                          <a:pt x="1270" y="1687"/>
                        </a:cubicBezTo>
                        <a:cubicBezTo>
                          <a:pt x="1281" y="1681"/>
                          <a:pt x="1332" y="1651"/>
                          <a:pt x="1340" y="1644"/>
                        </a:cubicBezTo>
                        <a:cubicBezTo>
                          <a:pt x="1348" y="1637"/>
                          <a:pt x="1363" y="1620"/>
                          <a:pt x="1368" y="1616"/>
                        </a:cubicBezTo>
                        <a:cubicBezTo>
                          <a:pt x="1373" y="1612"/>
                          <a:pt x="1387" y="1617"/>
                          <a:pt x="1392" y="1610"/>
                        </a:cubicBezTo>
                        <a:cubicBezTo>
                          <a:pt x="1396" y="1603"/>
                          <a:pt x="1397" y="1589"/>
                          <a:pt x="1403" y="1584"/>
                        </a:cubicBezTo>
                        <a:cubicBezTo>
                          <a:pt x="1410" y="1578"/>
                          <a:pt x="1411" y="1581"/>
                          <a:pt x="1418" y="1575"/>
                        </a:cubicBezTo>
                        <a:cubicBezTo>
                          <a:pt x="1426" y="1569"/>
                          <a:pt x="1436" y="1558"/>
                          <a:pt x="1446" y="1548"/>
                        </a:cubicBezTo>
                        <a:cubicBezTo>
                          <a:pt x="1456" y="1537"/>
                          <a:pt x="1473" y="1533"/>
                          <a:pt x="1482" y="1520"/>
                        </a:cubicBezTo>
                        <a:cubicBezTo>
                          <a:pt x="1490" y="1507"/>
                          <a:pt x="1503" y="1504"/>
                          <a:pt x="1505" y="1496"/>
                        </a:cubicBezTo>
                        <a:cubicBezTo>
                          <a:pt x="1508" y="1488"/>
                          <a:pt x="1519" y="1471"/>
                          <a:pt x="1527" y="1466"/>
                        </a:cubicBezTo>
                        <a:cubicBezTo>
                          <a:pt x="1535" y="1460"/>
                          <a:pt x="1544" y="1454"/>
                          <a:pt x="1551" y="1448"/>
                        </a:cubicBezTo>
                        <a:cubicBezTo>
                          <a:pt x="1557" y="1442"/>
                          <a:pt x="1578" y="1422"/>
                          <a:pt x="1579" y="1412"/>
                        </a:cubicBezTo>
                        <a:cubicBezTo>
                          <a:pt x="1580" y="1403"/>
                          <a:pt x="1602" y="1412"/>
                          <a:pt x="1605" y="1408"/>
                        </a:cubicBezTo>
                        <a:cubicBezTo>
                          <a:pt x="1609" y="1403"/>
                          <a:pt x="1624" y="1382"/>
                          <a:pt x="1634" y="1377"/>
                        </a:cubicBezTo>
                        <a:cubicBezTo>
                          <a:pt x="1643" y="1373"/>
                          <a:pt x="1675" y="1355"/>
                          <a:pt x="1689" y="1348"/>
                        </a:cubicBezTo>
                        <a:cubicBezTo>
                          <a:pt x="1702" y="1342"/>
                          <a:pt x="1719" y="1341"/>
                          <a:pt x="1721" y="1340"/>
                        </a:cubicBezTo>
                        <a:cubicBezTo>
                          <a:pt x="1724" y="1339"/>
                          <a:pt x="1805" y="1336"/>
                          <a:pt x="1813" y="1328"/>
                        </a:cubicBezTo>
                        <a:cubicBezTo>
                          <a:pt x="1821" y="1321"/>
                          <a:pt x="1821" y="1322"/>
                          <a:pt x="1836" y="1314"/>
                        </a:cubicBezTo>
                        <a:cubicBezTo>
                          <a:pt x="1851" y="1306"/>
                          <a:pt x="1865" y="1302"/>
                          <a:pt x="1867" y="1293"/>
                        </a:cubicBezTo>
                        <a:cubicBezTo>
                          <a:pt x="1870" y="1284"/>
                          <a:pt x="1878" y="1263"/>
                          <a:pt x="1878" y="1261"/>
                        </a:cubicBezTo>
                        <a:cubicBezTo>
                          <a:pt x="1878" y="1258"/>
                          <a:pt x="1880" y="1255"/>
                          <a:pt x="1867" y="1235"/>
                        </a:cubicBezTo>
                        <a:cubicBezTo>
                          <a:pt x="1854" y="1215"/>
                          <a:pt x="1835" y="1190"/>
                          <a:pt x="1827" y="1168"/>
                        </a:cubicBezTo>
                        <a:cubicBezTo>
                          <a:pt x="1819" y="1146"/>
                          <a:pt x="1804" y="1128"/>
                          <a:pt x="1800" y="1115"/>
                        </a:cubicBezTo>
                        <a:cubicBezTo>
                          <a:pt x="1797" y="1102"/>
                          <a:pt x="1784" y="1089"/>
                          <a:pt x="1784" y="1076"/>
                        </a:cubicBezTo>
                        <a:cubicBezTo>
                          <a:pt x="1784" y="1064"/>
                          <a:pt x="1771" y="1035"/>
                          <a:pt x="1776" y="1021"/>
                        </a:cubicBezTo>
                        <a:cubicBezTo>
                          <a:pt x="1780" y="1007"/>
                          <a:pt x="1769" y="904"/>
                          <a:pt x="1774" y="894"/>
                        </a:cubicBezTo>
                        <a:cubicBezTo>
                          <a:pt x="1778" y="884"/>
                          <a:pt x="1782" y="855"/>
                          <a:pt x="1785" y="848"/>
                        </a:cubicBezTo>
                        <a:cubicBezTo>
                          <a:pt x="1788" y="843"/>
                          <a:pt x="1797" y="833"/>
                          <a:pt x="1805" y="825"/>
                        </a:cubicBezTo>
                        <a:cubicBezTo>
                          <a:pt x="1788" y="813"/>
                          <a:pt x="1766" y="798"/>
                          <a:pt x="1762" y="798"/>
                        </a:cubicBezTo>
                        <a:cubicBezTo>
                          <a:pt x="1756" y="797"/>
                          <a:pt x="1752" y="803"/>
                          <a:pt x="1747" y="790"/>
                        </a:cubicBezTo>
                        <a:close/>
                      </a:path>
                    </a:pathLst>
                  </a:custGeom>
                  <a:solidFill>
                    <a:srgbClr val="FF00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C00000"/>
                      </a:solidFill>
                      <a:effectLst/>
                      <a:uLnTx/>
                      <a:uFillTx/>
                      <a:latin typeface="Calibri"/>
                      <a:ea typeface="+mn-ea"/>
                      <a:cs typeface="+mn-cs"/>
                    </a:endParaRPr>
                  </a:p>
                </p:txBody>
              </p:sp>
              <p:sp>
                <p:nvSpPr>
                  <p:cNvPr id="70" name="Freeform 527">
                    <a:extLst>
                      <a:ext uri="{FF2B5EF4-FFF2-40B4-BE49-F238E27FC236}">
                        <a16:creationId xmlns:a16="http://schemas.microsoft.com/office/drawing/2014/main" id="{574C1DA8-29D6-B71E-F7E7-67F3887F50FF}"/>
                      </a:ext>
                    </a:extLst>
                  </p:cNvPr>
                  <p:cNvSpPr>
                    <a:spLocks noChangeAspect="1"/>
                  </p:cNvSpPr>
                  <p:nvPr/>
                </p:nvSpPr>
                <p:spPr bwMode="auto">
                  <a:xfrm>
                    <a:off x="5331250" y="4098469"/>
                    <a:ext cx="858918" cy="768488"/>
                  </a:xfrm>
                  <a:custGeom>
                    <a:avLst/>
                    <a:gdLst>
                      <a:gd name="T0" fmla="*/ 1803 w 2200"/>
                      <a:gd name="T1" fmla="*/ 629 h 1968"/>
                      <a:gd name="T2" fmla="*/ 1649 w 2200"/>
                      <a:gd name="T3" fmla="*/ 679 h 1968"/>
                      <a:gd name="T4" fmla="*/ 1455 w 2200"/>
                      <a:gd name="T5" fmla="*/ 621 h 1968"/>
                      <a:gd name="T6" fmla="*/ 1479 w 2200"/>
                      <a:gd name="T7" fmla="*/ 508 h 1968"/>
                      <a:gd name="T8" fmla="*/ 1425 w 2200"/>
                      <a:gd name="T9" fmla="*/ 383 h 1968"/>
                      <a:gd name="T10" fmla="*/ 1329 w 2200"/>
                      <a:gd name="T11" fmla="*/ 281 h 1968"/>
                      <a:gd name="T12" fmla="*/ 1209 w 2200"/>
                      <a:gd name="T13" fmla="*/ 466 h 1968"/>
                      <a:gd name="T14" fmla="*/ 1108 w 2200"/>
                      <a:gd name="T15" fmla="*/ 368 h 1968"/>
                      <a:gd name="T16" fmla="*/ 992 w 2200"/>
                      <a:gd name="T17" fmla="*/ 268 h 1968"/>
                      <a:gd name="T18" fmla="*/ 906 w 2200"/>
                      <a:gd name="T19" fmla="*/ 54 h 1968"/>
                      <a:gd name="T20" fmla="*/ 744 w 2200"/>
                      <a:gd name="T21" fmla="*/ 55 h 1968"/>
                      <a:gd name="T22" fmla="*/ 676 w 2200"/>
                      <a:gd name="T23" fmla="*/ 311 h 1968"/>
                      <a:gd name="T24" fmla="*/ 489 w 2200"/>
                      <a:gd name="T25" fmla="*/ 291 h 1968"/>
                      <a:gd name="T26" fmla="*/ 299 w 2200"/>
                      <a:gd name="T27" fmla="*/ 268 h 1968"/>
                      <a:gd name="T28" fmla="*/ 138 w 2200"/>
                      <a:gd name="T29" fmla="*/ 195 h 1968"/>
                      <a:gd name="T30" fmla="*/ 25 w 2200"/>
                      <a:gd name="T31" fmla="*/ 319 h 1968"/>
                      <a:gd name="T32" fmla="*/ 77 w 2200"/>
                      <a:gd name="T33" fmla="*/ 442 h 1968"/>
                      <a:gd name="T34" fmla="*/ 138 w 2200"/>
                      <a:gd name="T35" fmla="*/ 524 h 1968"/>
                      <a:gd name="T36" fmla="*/ 161 w 2200"/>
                      <a:gd name="T37" fmla="*/ 605 h 1968"/>
                      <a:gd name="T38" fmla="*/ 196 w 2200"/>
                      <a:gd name="T39" fmla="*/ 631 h 1968"/>
                      <a:gd name="T40" fmla="*/ 275 w 2200"/>
                      <a:gd name="T41" fmla="*/ 659 h 1968"/>
                      <a:gd name="T42" fmla="*/ 227 w 2200"/>
                      <a:gd name="T43" fmla="*/ 767 h 1968"/>
                      <a:gd name="T44" fmla="*/ 333 w 2200"/>
                      <a:gd name="T45" fmla="*/ 837 h 1968"/>
                      <a:gd name="T46" fmla="*/ 406 w 2200"/>
                      <a:gd name="T47" fmla="*/ 868 h 1968"/>
                      <a:gd name="T48" fmla="*/ 520 w 2200"/>
                      <a:gd name="T49" fmla="*/ 866 h 1968"/>
                      <a:gd name="T50" fmla="*/ 556 w 2200"/>
                      <a:gd name="T51" fmla="*/ 982 h 1968"/>
                      <a:gd name="T52" fmla="*/ 603 w 2200"/>
                      <a:gd name="T53" fmla="*/ 1027 h 1968"/>
                      <a:gd name="T54" fmla="*/ 660 w 2200"/>
                      <a:gd name="T55" fmla="*/ 1021 h 1968"/>
                      <a:gd name="T56" fmla="*/ 702 w 2200"/>
                      <a:gd name="T57" fmla="*/ 1052 h 1968"/>
                      <a:gd name="T58" fmla="*/ 692 w 2200"/>
                      <a:gd name="T59" fmla="*/ 1100 h 1968"/>
                      <a:gd name="T60" fmla="*/ 828 w 2200"/>
                      <a:gd name="T61" fmla="*/ 1121 h 1968"/>
                      <a:gd name="T62" fmla="*/ 897 w 2200"/>
                      <a:gd name="T63" fmla="*/ 1186 h 1968"/>
                      <a:gd name="T64" fmla="*/ 953 w 2200"/>
                      <a:gd name="T65" fmla="*/ 1233 h 1968"/>
                      <a:gd name="T66" fmla="*/ 1063 w 2200"/>
                      <a:gd name="T67" fmla="*/ 1299 h 1968"/>
                      <a:gd name="T68" fmla="*/ 1222 w 2200"/>
                      <a:gd name="T69" fmla="*/ 1408 h 1968"/>
                      <a:gd name="T70" fmla="*/ 1179 w 2200"/>
                      <a:gd name="T71" fmla="*/ 1605 h 1968"/>
                      <a:gd name="T72" fmla="*/ 1139 w 2200"/>
                      <a:gd name="T73" fmla="*/ 1761 h 1968"/>
                      <a:gd name="T74" fmla="*/ 1169 w 2200"/>
                      <a:gd name="T75" fmla="*/ 1955 h 1968"/>
                      <a:gd name="T76" fmla="*/ 1269 w 2200"/>
                      <a:gd name="T77" fmla="*/ 1956 h 1968"/>
                      <a:gd name="T78" fmla="*/ 1334 w 2200"/>
                      <a:gd name="T79" fmla="*/ 1834 h 1968"/>
                      <a:gd name="T80" fmla="*/ 1388 w 2200"/>
                      <a:gd name="T81" fmla="*/ 1767 h 1968"/>
                      <a:gd name="T82" fmla="*/ 1431 w 2200"/>
                      <a:gd name="T83" fmla="*/ 1683 h 1968"/>
                      <a:gd name="T84" fmla="*/ 1512 w 2200"/>
                      <a:gd name="T85" fmla="*/ 1741 h 1968"/>
                      <a:gd name="T86" fmla="*/ 1625 w 2200"/>
                      <a:gd name="T87" fmla="*/ 1640 h 1968"/>
                      <a:gd name="T88" fmla="*/ 1723 w 2200"/>
                      <a:gd name="T89" fmla="*/ 1537 h 1968"/>
                      <a:gd name="T90" fmla="*/ 1799 w 2200"/>
                      <a:gd name="T91" fmla="*/ 1477 h 1968"/>
                      <a:gd name="T92" fmla="*/ 1945 w 2200"/>
                      <a:gd name="T93" fmla="*/ 1538 h 1968"/>
                      <a:gd name="T94" fmla="*/ 1987 w 2200"/>
                      <a:gd name="T95" fmla="*/ 1453 h 1968"/>
                      <a:gd name="T96" fmla="*/ 2155 w 2200"/>
                      <a:gd name="T97" fmla="*/ 1345 h 1968"/>
                      <a:gd name="T98" fmla="*/ 2199 w 2200"/>
                      <a:gd name="T99" fmla="*/ 1226 h 1968"/>
                      <a:gd name="T100" fmla="*/ 2109 w 2200"/>
                      <a:gd name="T101" fmla="*/ 947 h 1968"/>
                      <a:gd name="T102" fmla="*/ 2057 w 2200"/>
                      <a:gd name="T103" fmla="*/ 79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00" h="1968">
                        <a:moveTo>
                          <a:pt x="1996" y="620"/>
                        </a:moveTo>
                        <a:cubicBezTo>
                          <a:pt x="1977" y="619"/>
                          <a:pt x="1980" y="607"/>
                          <a:pt x="1961" y="607"/>
                        </a:cubicBezTo>
                        <a:cubicBezTo>
                          <a:pt x="1942" y="606"/>
                          <a:pt x="1899" y="616"/>
                          <a:pt x="1870" y="617"/>
                        </a:cubicBezTo>
                        <a:cubicBezTo>
                          <a:pt x="1840" y="617"/>
                          <a:pt x="1826" y="622"/>
                          <a:pt x="1803" y="629"/>
                        </a:cubicBezTo>
                        <a:cubicBezTo>
                          <a:pt x="1780" y="637"/>
                          <a:pt x="1758" y="633"/>
                          <a:pt x="1754" y="633"/>
                        </a:cubicBezTo>
                        <a:cubicBezTo>
                          <a:pt x="1749" y="633"/>
                          <a:pt x="1734" y="646"/>
                          <a:pt x="1724" y="650"/>
                        </a:cubicBezTo>
                        <a:cubicBezTo>
                          <a:pt x="1714" y="654"/>
                          <a:pt x="1701" y="656"/>
                          <a:pt x="1689" y="659"/>
                        </a:cubicBezTo>
                        <a:cubicBezTo>
                          <a:pt x="1676" y="662"/>
                          <a:pt x="1670" y="675"/>
                          <a:pt x="1649" y="679"/>
                        </a:cubicBezTo>
                        <a:cubicBezTo>
                          <a:pt x="1628" y="684"/>
                          <a:pt x="1551" y="704"/>
                          <a:pt x="1539" y="705"/>
                        </a:cubicBezTo>
                        <a:cubicBezTo>
                          <a:pt x="1527" y="706"/>
                          <a:pt x="1466" y="749"/>
                          <a:pt x="1445" y="760"/>
                        </a:cubicBezTo>
                        <a:cubicBezTo>
                          <a:pt x="1425" y="772"/>
                          <a:pt x="1428" y="705"/>
                          <a:pt x="1440" y="691"/>
                        </a:cubicBezTo>
                        <a:cubicBezTo>
                          <a:pt x="1452" y="677"/>
                          <a:pt x="1449" y="630"/>
                          <a:pt x="1455" y="621"/>
                        </a:cubicBezTo>
                        <a:cubicBezTo>
                          <a:pt x="1460" y="612"/>
                          <a:pt x="1474" y="577"/>
                          <a:pt x="1474" y="577"/>
                        </a:cubicBezTo>
                        <a:cubicBezTo>
                          <a:pt x="1464" y="568"/>
                          <a:pt x="1464" y="568"/>
                          <a:pt x="1464" y="568"/>
                        </a:cubicBezTo>
                        <a:cubicBezTo>
                          <a:pt x="1458" y="535"/>
                          <a:pt x="1458" y="535"/>
                          <a:pt x="1458" y="535"/>
                        </a:cubicBezTo>
                        <a:cubicBezTo>
                          <a:pt x="1479" y="508"/>
                          <a:pt x="1479" y="508"/>
                          <a:pt x="1479" y="508"/>
                        </a:cubicBezTo>
                        <a:cubicBezTo>
                          <a:pt x="1479" y="508"/>
                          <a:pt x="1455" y="488"/>
                          <a:pt x="1452" y="481"/>
                        </a:cubicBezTo>
                        <a:cubicBezTo>
                          <a:pt x="1450" y="475"/>
                          <a:pt x="1441" y="439"/>
                          <a:pt x="1438" y="428"/>
                        </a:cubicBezTo>
                        <a:cubicBezTo>
                          <a:pt x="1434" y="416"/>
                          <a:pt x="1427" y="413"/>
                          <a:pt x="1427" y="413"/>
                        </a:cubicBezTo>
                        <a:cubicBezTo>
                          <a:pt x="1427" y="413"/>
                          <a:pt x="1425" y="386"/>
                          <a:pt x="1425" y="383"/>
                        </a:cubicBezTo>
                        <a:cubicBezTo>
                          <a:pt x="1425" y="379"/>
                          <a:pt x="1458" y="310"/>
                          <a:pt x="1472" y="299"/>
                        </a:cubicBezTo>
                        <a:cubicBezTo>
                          <a:pt x="1478" y="294"/>
                          <a:pt x="1479" y="286"/>
                          <a:pt x="1479" y="278"/>
                        </a:cubicBezTo>
                        <a:cubicBezTo>
                          <a:pt x="1329" y="276"/>
                          <a:pt x="1329" y="276"/>
                          <a:pt x="1329" y="276"/>
                        </a:cubicBezTo>
                        <a:cubicBezTo>
                          <a:pt x="1329" y="278"/>
                          <a:pt x="1329" y="280"/>
                          <a:pt x="1329" y="281"/>
                        </a:cubicBezTo>
                        <a:cubicBezTo>
                          <a:pt x="1328" y="290"/>
                          <a:pt x="1317" y="310"/>
                          <a:pt x="1307" y="328"/>
                        </a:cubicBezTo>
                        <a:cubicBezTo>
                          <a:pt x="1297" y="346"/>
                          <a:pt x="1270" y="373"/>
                          <a:pt x="1269" y="378"/>
                        </a:cubicBezTo>
                        <a:cubicBezTo>
                          <a:pt x="1267" y="384"/>
                          <a:pt x="1248" y="422"/>
                          <a:pt x="1246" y="432"/>
                        </a:cubicBezTo>
                        <a:cubicBezTo>
                          <a:pt x="1244" y="443"/>
                          <a:pt x="1219" y="462"/>
                          <a:pt x="1209" y="466"/>
                        </a:cubicBezTo>
                        <a:cubicBezTo>
                          <a:pt x="1199" y="470"/>
                          <a:pt x="1181" y="448"/>
                          <a:pt x="1175" y="446"/>
                        </a:cubicBezTo>
                        <a:cubicBezTo>
                          <a:pt x="1170" y="445"/>
                          <a:pt x="1181" y="426"/>
                          <a:pt x="1181" y="426"/>
                        </a:cubicBezTo>
                        <a:cubicBezTo>
                          <a:pt x="1125" y="377"/>
                          <a:pt x="1125" y="377"/>
                          <a:pt x="1125" y="377"/>
                        </a:cubicBezTo>
                        <a:cubicBezTo>
                          <a:pt x="1125" y="377"/>
                          <a:pt x="1121" y="368"/>
                          <a:pt x="1108" y="368"/>
                        </a:cubicBezTo>
                        <a:cubicBezTo>
                          <a:pt x="1095" y="368"/>
                          <a:pt x="1089" y="357"/>
                          <a:pt x="1087" y="350"/>
                        </a:cubicBezTo>
                        <a:cubicBezTo>
                          <a:pt x="1086" y="344"/>
                          <a:pt x="1060" y="339"/>
                          <a:pt x="1049" y="334"/>
                        </a:cubicBezTo>
                        <a:cubicBezTo>
                          <a:pt x="1037" y="330"/>
                          <a:pt x="1025" y="306"/>
                          <a:pt x="1023" y="294"/>
                        </a:cubicBezTo>
                        <a:cubicBezTo>
                          <a:pt x="1020" y="282"/>
                          <a:pt x="1019" y="284"/>
                          <a:pt x="992" y="268"/>
                        </a:cubicBezTo>
                        <a:cubicBezTo>
                          <a:pt x="965" y="253"/>
                          <a:pt x="964" y="220"/>
                          <a:pt x="964" y="217"/>
                        </a:cubicBezTo>
                        <a:cubicBezTo>
                          <a:pt x="964" y="214"/>
                          <a:pt x="953" y="178"/>
                          <a:pt x="946" y="164"/>
                        </a:cubicBezTo>
                        <a:cubicBezTo>
                          <a:pt x="939" y="149"/>
                          <a:pt x="927" y="100"/>
                          <a:pt x="927" y="97"/>
                        </a:cubicBezTo>
                        <a:cubicBezTo>
                          <a:pt x="927" y="94"/>
                          <a:pt x="925" y="78"/>
                          <a:pt x="906" y="54"/>
                        </a:cubicBezTo>
                        <a:cubicBezTo>
                          <a:pt x="887" y="29"/>
                          <a:pt x="835" y="20"/>
                          <a:pt x="827" y="18"/>
                        </a:cubicBezTo>
                        <a:cubicBezTo>
                          <a:pt x="820" y="17"/>
                          <a:pt x="800" y="0"/>
                          <a:pt x="798" y="0"/>
                        </a:cubicBezTo>
                        <a:cubicBezTo>
                          <a:pt x="796" y="0"/>
                          <a:pt x="781" y="15"/>
                          <a:pt x="758" y="20"/>
                        </a:cubicBezTo>
                        <a:cubicBezTo>
                          <a:pt x="754" y="31"/>
                          <a:pt x="748" y="48"/>
                          <a:pt x="744" y="55"/>
                        </a:cubicBezTo>
                        <a:cubicBezTo>
                          <a:pt x="738" y="66"/>
                          <a:pt x="739" y="93"/>
                          <a:pt x="728" y="102"/>
                        </a:cubicBezTo>
                        <a:cubicBezTo>
                          <a:pt x="717" y="111"/>
                          <a:pt x="704" y="132"/>
                          <a:pt x="701" y="138"/>
                        </a:cubicBezTo>
                        <a:cubicBezTo>
                          <a:pt x="698" y="144"/>
                          <a:pt x="693" y="178"/>
                          <a:pt x="693" y="178"/>
                        </a:cubicBezTo>
                        <a:cubicBezTo>
                          <a:pt x="693" y="178"/>
                          <a:pt x="676" y="310"/>
                          <a:pt x="676" y="311"/>
                        </a:cubicBezTo>
                        <a:cubicBezTo>
                          <a:pt x="676" y="312"/>
                          <a:pt x="604" y="321"/>
                          <a:pt x="597" y="310"/>
                        </a:cubicBezTo>
                        <a:cubicBezTo>
                          <a:pt x="589" y="298"/>
                          <a:pt x="594" y="294"/>
                          <a:pt x="585" y="294"/>
                        </a:cubicBezTo>
                        <a:cubicBezTo>
                          <a:pt x="575" y="294"/>
                          <a:pt x="554" y="285"/>
                          <a:pt x="546" y="285"/>
                        </a:cubicBezTo>
                        <a:cubicBezTo>
                          <a:pt x="538" y="285"/>
                          <a:pt x="498" y="284"/>
                          <a:pt x="489" y="291"/>
                        </a:cubicBezTo>
                        <a:cubicBezTo>
                          <a:pt x="480" y="299"/>
                          <a:pt x="469" y="316"/>
                          <a:pt x="460" y="312"/>
                        </a:cubicBezTo>
                        <a:cubicBezTo>
                          <a:pt x="450" y="307"/>
                          <a:pt x="454" y="294"/>
                          <a:pt x="454" y="294"/>
                        </a:cubicBezTo>
                        <a:cubicBezTo>
                          <a:pt x="454" y="294"/>
                          <a:pt x="367" y="297"/>
                          <a:pt x="367" y="295"/>
                        </a:cubicBezTo>
                        <a:cubicBezTo>
                          <a:pt x="366" y="294"/>
                          <a:pt x="311" y="281"/>
                          <a:pt x="299" y="268"/>
                        </a:cubicBezTo>
                        <a:cubicBezTo>
                          <a:pt x="286" y="254"/>
                          <a:pt x="267" y="257"/>
                          <a:pt x="260" y="247"/>
                        </a:cubicBezTo>
                        <a:cubicBezTo>
                          <a:pt x="253" y="237"/>
                          <a:pt x="220" y="209"/>
                          <a:pt x="212" y="209"/>
                        </a:cubicBezTo>
                        <a:cubicBezTo>
                          <a:pt x="203" y="209"/>
                          <a:pt x="190" y="188"/>
                          <a:pt x="178" y="191"/>
                        </a:cubicBezTo>
                        <a:cubicBezTo>
                          <a:pt x="166" y="194"/>
                          <a:pt x="145" y="192"/>
                          <a:pt x="138" y="195"/>
                        </a:cubicBezTo>
                        <a:cubicBezTo>
                          <a:pt x="131" y="198"/>
                          <a:pt x="103" y="220"/>
                          <a:pt x="103" y="220"/>
                        </a:cubicBezTo>
                        <a:cubicBezTo>
                          <a:pt x="103" y="220"/>
                          <a:pt x="101" y="242"/>
                          <a:pt x="90" y="253"/>
                        </a:cubicBezTo>
                        <a:cubicBezTo>
                          <a:pt x="78" y="264"/>
                          <a:pt x="50" y="286"/>
                          <a:pt x="45" y="294"/>
                        </a:cubicBezTo>
                        <a:cubicBezTo>
                          <a:pt x="39" y="302"/>
                          <a:pt x="26" y="317"/>
                          <a:pt x="25" y="319"/>
                        </a:cubicBezTo>
                        <a:cubicBezTo>
                          <a:pt x="24" y="322"/>
                          <a:pt x="3" y="345"/>
                          <a:pt x="2" y="350"/>
                        </a:cubicBezTo>
                        <a:cubicBezTo>
                          <a:pt x="0" y="355"/>
                          <a:pt x="6" y="367"/>
                          <a:pt x="8" y="371"/>
                        </a:cubicBezTo>
                        <a:cubicBezTo>
                          <a:pt x="10" y="374"/>
                          <a:pt x="20" y="438"/>
                          <a:pt x="36" y="440"/>
                        </a:cubicBezTo>
                        <a:cubicBezTo>
                          <a:pt x="52" y="441"/>
                          <a:pt x="74" y="438"/>
                          <a:pt x="77" y="442"/>
                        </a:cubicBezTo>
                        <a:cubicBezTo>
                          <a:pt x="80" y="445"/>
                          <a:pt x="87" y="505"/>
                          <a:pt x="87" y="505"/>
                        </a:cubicBezTo>
                        <a:cubicBezTo>
                          <a:pt x="87" y="505"/>
                          <a:pt x="99" y="503"/>
                          <a:pt x="101" y="509"/>
                        </a:cubicBezTo>
                        <a:cubicBezTo>
                          <a:pt x="103" y="515"/>
                          <a:pt x="101" y="522"/>
                          <a:pt x="105" y="523"/>
                        </a:cubicBezTo>
                        <a:cubicBezTo>
                          <a:pt x="109" y="524"/>
                          <a:pt x="134" y="527"/>
                          <a:pt x="138" y="524"/>
                        </a:cubicBezTo>
                        <a:cubicBezTo>
                          <a:pt x="142" y="521"/>
                          <a:pt x="141" y="513"/>
                          <a:pt x="148" y="513"/>
                        </a:cubicBezTo>
                        <a:cubicBezTo>
                          <a:pt x="156" y="514"/>
                          <a:pt x="179" y="505"/>
                          <a:pt x="180" y="522"/>
                        </a:cubicBezTo>
                        <a:cubicBezTo>
                          <a:pt x="182" y="540"/>
                          <a:pt x="173" y="589"/>
                          <a:pt x="170" y="595"/>
                        </a:cubicBezTo>
                        <a:cubicBezTo>
                          <a:pt x="168" y="597"/>
                          <a:pt x="165" y="601"/>
                          <a:pt x="161" y="605"/>
                        </a:cubicBezTo>
                        <a:cubicBezTo>
                          <a:pt x="154" y="612"/>
                          <a:pt x="147" y="622"/>
                          <a:pt x="146" y="629"/>
                        </a:cubicBezTo>
                        <a:cubicBezTo>
                          <a:pt x="145" y="640"/>
                          <a:pt x="138" y="663"/>
                          <a:pt x="152" y="663"/>
                        </a:cubicBezTo>
                        <a:cubicBezTo>
                          <a:pt x="165" y="663"/>
                          <a:pt x="165" y="654"/>
                          <a:pt x="174" y="651"/>
                        </a:cubicBezTo>
                        <a:cubicBezTo>
                          <a:pt x="184" y="648"/>
                          <a:pt x="186" y="630"/>
                          <a:pt x="196" y="631"/>
                        </a:cubicBezTo>
                        <a:cubicBezTo>
                          <a:pt x="206" y="631"/>
                          <a:pt x="220" y="631"/>
                          <a:pt x="230" y="627"/>
                        </a:cubicBezTo>
                        <a:cubicBezTo>
                          <a:pt x="240" y="623"/>
                          <a:pt x="231" y="614"/>
                          <a:pt x="244" y="618"/>
                        </a:cubicBezTo>
                        <a:cubicBezTo>
                          <a:pt x="257" y="623"/>
                          <a:pt x="284" y="635"/>
                          <a:pt x="282" y="643"/>
                        </a:cubicBezTo>
                        <a:cubicBezTo>
                          <a:pt x="280" y="651"/>
                          <a:pt x="276" y="654"/>
                          <a:pt x="275" y="659"/>
                        </a:cubicBezTo>
                        <a:cubicBezTo>
                          <a:pt x="274" y="663"/>
                          <a:pt x="277" y="674"/>
                          <a:pt x="272" y="674"/>
                        </a:cubicBezTo>
                        <a:cubicBezTo>
                          <a:pt x="267" y="674"/>
                          <a:pt x="251" y="679"/>
                          <a:pt x="249" y="681"/>
                        </a:cubicBezTo>
                        <a:cubicBezTo>
                          <a:pt x="247" y="682"/>
                          <a:pt x="226" y="700"/>
                          <a:pt x="224" y="704"/>
                        </a:cubicBezTo>
                        <a:cubicBezTo>
                          <a:pt x="222" y="708"/>
                          <a:pt x="227" y="767"/>
                          <a:pt x="227" y="767"/>
                        </a:cubicBezTo>
                        <a:cubicBezTo>
                          <a:pt x="227" y="767"/>
                          <a:pt x="241" y="795"/>
                          <a:pt x="256" y="796"/>
                        </a:cubicBezTo>
                        <a:cubicBezTo>
                          <a:pt x="271" y="797"/>
                          <a:pt x="290" y="798"/>
                          <a:pt x="292" y="808"/>
                        </a:cubicBezTo>
                        <a:cubicBezTo>
                          <a:pt x="294" y="818"/>
                          <a:pt x="293" y="824"/>
                          <a:pt x="303" y="825"/>
                        </a:cubicBezTo>
                        <a:cubicBezTo>
                          <a:pt x="314" y="826"/>
                          <a:pt x="325" y="836"/>
                          <a:pt x="333" y="837"/>
                        </a:cubicBezTo>
                        <a:cubicBezTo>
                          <a:pt x="340" y="838"/>
                          <a:pt x="356" y="840"/>
                          <a:pt x="359" y="840"/>
                        </a:cubicBezTo>
                        <a:cubicBezTo>
                          <a:pt x="361" y="840"/>
                          <a:pt x="372" y="853"/>
                          <a:pt x="379" y="855"/>
                        </a:cubicBezTo>
                        <a:cubicBezTo>
                          <a:pt x="383" y="856"/>
                          <a:pt x="389" y="860"/>
                          <a:pt x="395" y="863"/>
                        </a:cubicBezTo>
                        <a:cubicBezTo>
                          <a:pt x="399" y="866"/>
                          <a:pt x="403" y="868"/>
                          <a:pt x="406" y="868"/>
                        </a:cubicBezTo>
                        <a:cubicBezTo>
                          <a:pt x="410" y="868"/>
                          <a:pt x="436" y="856"/>
                          <a:pt x="439" y="856"/>
                        </a:cubicBezTo>
                        <a:cubicBezTo>
                          <a:pt x="442" y="855"/>
                          <a:pt x="483" y="857"/>
                          <a:pt x="491" y="852"/>
                        </a:cubicBezTo>
                        <a:cubicBezTo>
                          <a:pt x="498" y="847"/>
                          <a:pt x="508" y="839"/>
                          <a:pt x="511" y="848"/>
                        </a:cubicBezTo>
                        <a:cubicBezTo>
                          <a:pt x="514" y="858"/>
                          <a:pt x="519" y="862"/>
                          <a:pt x="520" y="866"/>
                        </a:cubicBezTo>
                        <a:cubicBezTo>
                          <a:pt x="520" y="869"/>
                          <a:pt x="513" y="895"/>
                          <a:pt x="508" y="899"/>
                        </a:cubicBezTo>
                        <a:cubicBezTo>
                          <a:pt x="503" y="903"/>
                          <a:pt x="505" y="911"/>
                          <a:pt x="506" y="913"/>
                        </a:cubicBezTo>
                        <a:cubicBezTo>
                          <a:pt x="506" y="915"/>
                          <a:pt x="530" y="958"/>
                          <a:pt x="536" y="965"/>
                        </a:cubicBezTo>
                        <a:cubicBezTo>
                          <a:pt x="542" y="971"/>
                          <a:pt x="554" y="977"/>
                          <a:pt x="556" y="982"/>
                        </a:cubicBezTo>
                        <a:cubicBezTo>
                          <a:pt x="557" y="987"/>
                          <a:pt x="556" y="997"/>
                          <a:pt x="560" y="997"/>
                        </a:cubicBezTo>
                        <a:cubicBezTo>
                          <a:pt x="564" y="997"/>
                          <a:pt x="568" y="993"/>
                          <a:pt x="573" y="1002"/>
                        </a:cubicBezTo>
                        <a:cubicBezTo>
                          <a:pt x="579" y="1010"/>
                          <a:pt x="592" y="1006"/>
                          <a:pt x="591" y="1012"/>
                        </a:cubicBezTo>
                        <a:cubicBezTo>
                          <a:pt x="590" y="1018"/>
                          <a:pt x="594" y="1024"/>
                          <a:pt x="603" y="1027"/>
                        </a:cubicBezTo>
                        <a:cubicBezTo>
                          <a:pt x="608" y="1029"/>
                          <a:pt x="612" y="1032"/>
                          <a:pt x="614" y="1035"/>
                        </a:cubicBezTo>
                        <a:cubicBezTo>
                          <a:pt x="616" y="1036"/>
                          <a:pt x="618" y="1038"/>
                          <a:pt x="619" y="1038"/>
                        </a:cubicBezTo>
                        <a:cubicBezTo>
                          <a:pt x="621" y="1038"/>
                          <a:pt x="639" y="1026"/>
                          <a:pt x="644" y="1023"/>
                        </a:cubicBezTo>
                        <a:cubicBezTo>
                          <a:pt x="649" y="1020"/>
                          <a:pt x="655" y="1016"/>
                          <a:pt x="660" y="1021"/>
                        </a:cubicBezTo>
                        <a:cubicBezTo>
                          <a:pt x="665" y="1025"/>
                          <a:pt x="669" y="1028"/>
                          <a:pt x="668" y="1035"/>
                        </a:cubicBezTo>
                        <a:cubicBezTo>
                          <a:pt x="668" y="1042"/>
                          <a:pt x="668" y="1054"/>
                          <a:pt x="668" y="1054"/>
                        </a:cubicBezTo>
                        <a:cubicBezTo>
                          <a:pt x="668" y="1054"/>
                          <a:pt x="679" y="1063"/>
                          <a:pt x="682" y="1063"/>
                        </a:cubicBezTo>
                        <a:cubicBezTo>
                          <a:pt x="685" y="1063"/>
                          <a:pt x="694" y="1050"/>
                          <a:pt x="702" y="1052"/>
                        </a:cubicBezTo>
                        <a:cubicBezTo>
                          <a:pt x="710" y="1055"/>
                          <a:pt x="730" y="1060"/>
                          <a:pt x="724" y="1063"/>
                        </a:cubicBezTo>
                        <a:cubicBezTo>
                          <a:pt x="718" y="1066"/>
                          <a:pt x="710" y="1076"/>
                          <a:pt x="710" y="1078"/>
                        </a:cubicBezTo>
                        <a:cubicBezTo>
                          <a:pt x="710" y="1080"/>
                          <a:pt x="701" y="1097"/>
                          <a:pt x="699" y="1099"/>
                        </a:cubicBezTo>
                        <a:cubicBezTo>
                          <a:pt x="698" y="1101"/>
                          <a:pt x="692" y="1095"/>
                          <a:pt x="692" y="1100"/>
                        </a:cubicBezTo>
                        <a:cubicBezTo>
                          <a:pt x="692" y="1105"/>
                          <a:pt x="691" y="1148"/>
                          <a:pt x="697" y="1148"/>
                        </a:cubicBezTo>
                        <a:cubicBezTo>
                          <a:pt x="704" y="1148"/>
                          <a:pt x="760" y="1148"/>
                          <a:pt x="762" y="1146"/>
                        </a:cubicBezTo>
                        <a:cubicBezTo>
                          <a:pt x="765" y="1143"/>
                          <a:pt x="789" y="1117"/>
                          <a:pt x="799" y="1121"/>
                        </a:cubicBezTo>
                        <a:cubicBezTo>
                          <a:pt x="810" y="1124"/>
                          <a:pt x="826" y="1119"/>
                          <a:pt x="828" y="1121"/>
                        </a:cubicBezTo>
                        <a:cubicBezTo>
                          <a:pt x="830" y="1123"/>
                          <a:pt x="847" y="1136"/>
                          <a:pt x="852" y="1139"/>
                        </a:cubicBezTo>
                        <a:cubicBezTo>
                          <a:pt x="857" y="1141"/>
                          <a:pt x="863" y="1141"/>
                          <a:pt x="864" y="1148"/>
                        </a:cubicBezTo>
                        <a:cubicBezTo>
                          <a:pt x="865" y="1155"/>
                          <a:pt x="864" y="1179"/>
                          <a:pt x="873" y="1181"/>
                        </a:cubicBezTo>
                        <a:cubicBezTo>
                          <a:pt x="882" y="1183"/>
                          <a:pt x="894" y="1183"/>
                          <a:pt x="897" y="1186"/>
                        </a:cubicBezTo>
                        <a:cubicBezTo>
                          <a:pt x="900" y="1190"/>
                          <a:pt x="911" y="1199"/>
                          <a:pt x="918" y="1198"/>
                        </a:cubicBezTo>
                        <a:cubicBezTo>
                          <a:pt x="926" y="1198"/>
                          <a:pt x="928" y="1185"/>
                          <a:pt x="936" y="1187"/>
                        </a:cubicBezTo>
                        <a:cubicBezTo>
                          <a:pt x="944" y="1188"/>
                          <a:pt x="953" y="1197"/>
                          <a:pt x="953" y="1200"/>
                        </a:cubicBezTo>
                        <a:cubicBezTo>
                          <a:pt x="953" y="1202"/>
                          <a:pt x="935" y="1228"/>
                          <a:pt x="953" y="1233"/>
                        </a:cubicBezTo>
                        <a:cubicBezTo>
                          <a:pt x="970" y="1237"/>
                          <a:pt x="994" y="1229"/>
                          <a:pt x="996" y="1231"/>
                        </a:cubicBezTo>
                        <a:cubicBezTo>
                          <a:pt x="998" y="1234"/>
                          <a:pt x="1011" y="1271"/>
                          <a:pt x="1014" y="1275"/>
                        </a:cubicBezTo>
                        <a:cubicBezTo>
                          <a:pt x="1016" y="1280"/>
                          <a:pt x="1020" y="1301"/>
                          <a:pt x="1029" y="1302"/>
                        </a:cubicBezTo>
                        <a:cubicBezTo>
                          <a:pt x="1038" y="1303"/>
                          <a:pt x="1061" y="1300"/>
                          <a:pt x="1063" y="1299"/>
                        </a:cubicBezTo>
                        <a:cubicBezTo>
                          <a:pt x="1065" y="1299"/>
                          <a:pt x="1126" y="1278"/>
                          <a:pt x="1140" y="1278"/>
                        </a:cubicBezTo>
                        <a:cubicBezTo>
                          <a:pt x="1154" y="1278"/>
                          <a:pt x="1182" y="1292"/>
                          <a:pt x="1185" y="1306"/>
                        </a:cubicBezTo>
                        <a:cubicBezTo>
                          <a:pt x="1189" y="1320"/>
                          <a:pt x="1193" y="1351"/>
                          <a:pt x="1201" y="1361"/>
                        </a:cubicBezTo>
                        <a:cubicBezTo>
                          <a:pt x="1210" y="1371"/>
                          <a:pt x="1227" y="1399"/>
                          <a:pt x="1222" y="1408"/>
                        </a:cubicBezTo>
                        <a:cubicBezTo>
                          <a:pt x="1218" y="1418"/>
                          <a:pt x="1201" y="1500"/>
                          <a:pt x="1194" y="1512"/>
                        </a:cubicBezTo>
                        <a:cubicBezTo>
                          <a:pt x="1188" y="1524"/>
                          <a:pt x="1184" y="1521"/>
                          <a:pt x="1184" y="1531"/>
                        </a:cubicBezTo>
                        <a:cubicBezTo>
                          <a:pt x="1184" y="1540"/>
                          <a:pt x="1188" y="1592"/>
                          <a:pt x="1188" y="1592"/>
                        </a:cubicBezTo>
                        <a:cubicBezTo>
                          <a:pt x="1188" y="1592"/>
                          <a:pt x="1179" y="1601"/>
                          <a:pt x="1179" y="1605"/>
                        </a:cubicBezTo>
                        <a:cubicBezTo>
                          <a:pt x="1178" y="1609"/>
                          <a:pt x="1150" y="1675"/>
                          <a:pt x="1146" y="1685"/>
                        </a:cubicBezTo>
                        <a:cubicBezTo>
                          <a:pt x="1141" y="1696"/>
                          <a:pt x="1133" y="1711"/>
                          <a:pt x="1137" y="1717"/>
                        </a:cubicBezTo>
                        <a:cubicBezTo>
                          <a:pt x="1140" y="1723"/>
                          <a:pt x="1146" y="1734"/>
                          <a:pt x="1144" y="1742"/>
                        </a:cubicBezTo>
                        <a:cubicBezTo>
                          <a:pt x="1142" y="1751"/>
                          <a:pt x="1139" y="1761"/>
                          <a:pt x="1139" y="1761"/>
                        </a:cubicBezTo>
                        <a:cubicBezTo>
                          <a:pt x="1139" y="1761"/>
                          <a:pt x="1133" y="1795"/>
                          <a:pt x="1139" y="1804"/>
                        </a:cubicBezTo>
                        <a:cubicBezTo>
                          <a:pt x="1145" y="1814"/>
                          <a:pt x="1154" y="1864"/>
                          <a:pt x="1156" y="1873"/>
                        </a:cubicBezTo>
                        <a:cubicBezTo>
                          <a:pt x="1158" y="1882"/>
                          <a:pt x="1168" y="1885"/>
                          <a:pt x="1168" y="1887"/>
                        </a:cubicBezTo>
                        <a:cubicBezTo>
                          <a:pt x="1168" y="1889"/>
                          <a:pt x="1169" y="1929"/>
                          <a:pt x="1169" y="1955"/>
                        </a:cubicBezTo>
                        <a:cubicBezTo>
                          <a:pt x="1178" y="1955"/>
                          <a:pt x="1188" y="1957"/>
                          <a:pt x="1191" y="1958"/>
                        </a:cubicBezTo>
                        <a:cubicBezTo>
                          <a:pt x="1196" y="1960"/>
                          <a:pt x="1205" y="1963"/>
                          <a:pt x="1210" y="1963"/>
                        </a:cubicBezTo>
                        <a:cubicBezTo>
                          <a:pt x="1215" y="1963"/>
                          <a:pt x="1222" y="1958"/>
                          <a:pt x="1225" y="1957"/>
                        </a:cubicBezTo>
                        <a:cubicBezTo>
                          <a:pt x="1228" y="1956"/>
                          <a:pt x="1256" y="1968"/>
                          <a:pt x="1269" y="1956"/>
                        </a:cubicBezTo>
                        <a:cubicBezTo>
                          <a:pt x="1283" y="1944"/>
                          <a:pt x="1302" y="1932"/>
                          <a:pt x="1304" y="1931"/>
                        </a:cubicBezTo>
                        <a:cubicBezTo>
                          <a:pt x="1306" y="1929"/>
                          <a:pt x="1306" y="1899"/>
                          <a:pt x="1313" y="1891"/>
                        </a:cubicBezTo>
                        <a:cubicBezTo>
                          <a:pt x="1319" y="1883"/>
                          <a:pt x="1311" y="1835"/>
                          <a:pt x="1311" y="1835"/>
                        </a:cubicBezTo>
                        <a:cubicBezTo>
                          <a:pt x="1311" y="1835"/>
                          <a:pt x="1329" y="1840"/>
                          <a:pt x="1334" y="1834"/>
                        </a:cubicBezTo>
                        <a:cubicBezTo>
                          <a:pt x="1339" y="1828"/>
                          <a:pt x="1349" y="1806"/>
                          <a:pt x="1354" y="1803"/>
                        </a:cubicBezTo>
                        <a:cubicBezTo>
                          <a:pt x="1359" y="1800"/>
                          <a:pt x="1365" y="1798"/>
                          <a:pt x="1370" y="1793"/>
                        </a:cubicBezTo>
                        <a:cubicBezTo>
                          <a:pt x="1374" y="1789"/>
                          <a:pt x="1380" y="1775"/>
                          <a:pt x="1384" y="1769"/>
                        </a:cubicBezTo>
                        <a:cubicBezTo>
                          <a:pt x="1385" y="1768"/>
                          <a:pt x="1386" y="1767"/>
                          <a:pt x="1388" y="1767"/>
                        </a:cubicBezTo>
                        <a:cubicBezTo>
                          <a:pt x="1393" y="1767"/>
                          <a:pt x="1402" y="1760"/>
                          <a:pt x="1403" y="1757"/>
                        </a:cubicBezTo>
                        <a:cubicBezTo>
                          <a:pt x="1405" y="1754"/>
                          <a:pt x="1418" y="1733"/>
                          <a:pt x="1418" y="1724"/>
                        </a:cubicBezTo>
                        <a:cubicBezTo>
                          <a:pt x="1419" y="1714"/>
                          <a:pt x="1416" y="1705"/>
                          <a:pt x="1420" y="1699"/>
                        </a:cubicBezTo>
                        <a:cubicBezTo>
                          <a:pt x="1424" y="1693"/>
                          <a:pt x="1423" y="1678"/>
                          <a:pt x="1431" y="1683"/>
                        </a:cubicBezTo>
                        <a:cubicBezTo>
                          <a:pt x="1439" y="1687"/>
                          <a:pt x="1451" y="1691"/>
                          <a:pt x="1453" y="1701"/>
                        </a:cubicBezTo>
                        <a:cubicBezTo>
                          <a:pt x="1456" y="1711"/>
                          <a:pt x="1461" y="1712"/>
                          <a:pt x="1463" y="1724"/>
                        </a:cubicBezTo>
                        <a:cubicBezTo>
                          <a:pt x="1465" y="1736"/>
                          <a:pt x="1469" y="1742"/>
                          <a:pt x="1472" y="1742"/>
                        </a:cubicBezTo>
                        <a:cubicBezTo>
                          <a:pt x="1475" y="1743"/>
                          <a:pt x="1498" y="1752"/>
                          <a:pt x="1512" y="1741"/>
                        </a:cubicBezTo>
                        <a:cubicBezTo>
                          <a:pt x="1526" y="1731"/>
                          <a:pt x="1540" y="1725"/>
                          <a:pt x="1544" y="1720"/>
                        </a:cubicBezTo>
                        <a:cubicBezTo>
                          <a:pt x="1548" y="1714"/>
                          <a:pt x="1566" y="1695"/>
                          <a:pt x="1570" y="1691"/>
                        </a:cubicBezTo>
                        <a:cubicBezTo>
                          <a:pt x="1575" y="1686"/>
                          <a:pt x="1605" y="1676"/>
                          <a:pt x="1610" y="1669"/>
                        </a:cubicBezTo>
                        <a:cubicBezTo>
                          <a:pt x="1616" y="1663"/>
                          <a:pt x="1620" y="1644"/>
                          <a:pt x="1625" y="1640"/>
                        </a:cubicBezTo>
                        <a:cubicBezTo>
                          <a:pt x="1631" y="1637"/>
                          <a:pt x="1638" y="1626"/>
                          <a:pt x="1646" y="1619"/>
                        </a:cubicBezTo>
                        <a:cubicBezTo>
                          <a:pt x="1653" y="1613"/>
                          <a:pt x="1674" y="1604"/>
                          <a:pt x="1682" y="1597"/>
                        </a:cubicBezTo>
                        <a:cubicBezTo>
                          <a:pt x="1691" y="1590"/>
                          <a:pt x="1692" y="1574"/>
                          <a:pt x="1699" y="1569"/>
                        </a:cubicBezTo>
                        <a:cubicBezTo>
                          <a:pt x="1705" y="1564"/>
                          <a:pt x="1709" y="1543"/>
                          <a:pt x="1723" y="1537"/>
                        </a:cubicBezTo>
                        <a:cubicBezTo>
                          <a:pt x="1737" y="1530"/>
                          <a:pt x="1742" y="1532"/>
                          <a:pt x="1756" y="1524"/>
                        </a:cubicBezTo>
                        <a:cubicBezTo>
                          <a:pt x="1769" y="1516"/>
                          <a:pt x="1783" y="1499"/>
                          <a:pt x="1786" y="1497"/>
                        </a:cubicBezTo>
                        <a:cubicBezTo>
                          <a:pt x="1788" y="1494"/>
                          <a:pt x="1795" y="1494"/>
                          <a:pt x="1795" y="1494"/>
                        </a:cubicBezTo>
                        <a:cubicBezTo>
                          <a:pt x="1795" y="1494"/>
                          <a:pt x="1797" y="1479"/>
                          <a:pt x="1799" y="1477"/>
                        </a:cubicBezTo>
                        <a:cubicBezTo>
                          <a:pt x="1801" y="1474"/>
                          <a:pt x="1820" y="1454"/>
                          <a:pt x="1820" y="1454"/>
                        </a:cubicBezTo>
                        <a:cubicBezTo>
                          <a:pt x="1884" y="1455"/>
                          <a:pt x="1884" y="1455"/>
                          <a:pt x="1884" y="1455"/>
                        </a:cubicBezTo>
                        <a:cubicBezTo>
                          <a:pt x="1884" y="1455"/>
                          <a:pt x="1927" y="1538"/>
                          <a:pt x="1939" y="1538"/>
                        </a:cubicBezTo>
                        <a:cubicBezTo>
                          <a:pt x="1941" y="1539"/>
                          <a:pt x="1943" y="1538"/>
                          <a:pt x="1945" y="1538"/>
                        </a:cubicBezTo>
                        <a:cubicBezTo>
                          <a:pt x="1953" y="1538"/>
                          <a:pt x="1959" y="1537"/>
                          <a:pt x="1959" y="1539"/>
                        </a:cubicBezTo>
                        <a:cubicBezTo>
                          <a:pt x="1959" y="1543"/>
                          <a:pt x="1971" y="1562"/>
                          <a:pt x="1974" y="1547"/>
                        </a:cubicBezTo>
                        <a:cubicBezTo>
                          <a:pt x="1978" y="1532"/>
                          <a:pt x="1975" y="1485"/>
                          <a:pt x="1979" y="1480"/>
                        </a:cubicBezTo>
                        <a:cubicBezTo>
                          <a:pt x="1982" y="1475"/>
                          <a:pt x="1979" y="1453"/>
                          <a:pt x="1987" y="1453"/>
                        </a:cubicBezTo>
                        <a:cubicBezTo>
                          <a:pt x="1995" y="1453"/>
                          <a:pt x="2023" y="1423"/>
                          <a:pt x="2033" y="1419"/>
                        </a:cubicBezTo>
                        <a:cubicBezTo>
                          <a:pt x="2044" y="1416"/>
                          <a:pt x="2054" y="1415"/>
                          <a:pt x="2062" y="1412"/>
                        </a:cubicBezTo>
                        <a:cubicBezTo>
                          <a:pt x="2070" y="1409"/>
                          <a:pt x="2117" y="1400"/>
                          <a:pt x="2126" y="1394"/>
                        </a:cubicBezTo>
                        <a:cubicBezTo>
                          <a:pt x="2135" y="1388"/>
                          <a:pt x="2154" y="1358"/>
                          <a:pt x="2155" y="1345"/>
                        </a:cubicBezTo>
                        <a:cubicBezTo>
                          <a:pt x="2156" y="1333"/>
                          <a:pt x="2156" y="1310"/>
                          <a:pt x="2159" y="1308"/>
                        </a:cubicBezTo>
                        <a:cubicBezTo>
                          <a:pt x="2161" y="1306"/>
                          <a:pt x="2170" y="1303"/>
                          <a:pt x="2170" y="1297"/>
                        </a:cubicBezTo>
                        <a:cubicBezTo>
                          <a:pt x="2169" y="1292"/>
                          <a:pt x="2190" y="1259"/>
                          <a:pt x="2193" y="1249"/>
                        </a:cubicBezTo>
                        <a:cubicBezTo>
                          <a:pt x="2197" y="1239"/>
                          <a:pt x="2200" y="1229"/>
                          <a:pt x="2199" y="1226"/>
                        </a:cubicBezTo>
                        <a:cubicBezTo>
                          <a:pt x="2198" y="1223"/>
                          <a:pt x="2196" y="1209"/>
                          <a:pt x="2188" y="1205"/>
                        </a:cubicBezTo>
                        <a:cubicBezTo>
                          <a:pt x="2180" y="1201"/>
                          <a:pt x="2129" y="1162"/>
                          <a:pt x="2127" y="1157"/>
                        </a:cubicBezTo>
                        <a:cubicBezTo>
                          <a:pt x="2125" y="1152"/>
                          <a:pt x="2110" y="1111"/>
                          <a:pt x="2116" y="1099"/>
                        </a:cubicBezTo>
                        <a:cubicBezTo>
                          <a:pt x="2123" y="1086"/>
                          <a:pt x="2109" y="947"/>
                          <a:pt x="2109" y="947"/>
                        </a:cubicBezTo>
                        <a:cubicBezTo>
                          <a:pt x="2109" y="947"/>
                          <a:pt x="2126" y="930"/>
                          <a:pt x="2122" y="921"/>
                        </a:cubicBezTo>
                        <a:cubicBezTo>
                          <a:pt x="2118" y="912"/>
                          <a:pt x="2109" y="869"/>
                          <a:pt x="2098" y="858"/>
                        </a:cubicBezTo>
                        <a:cubicBezTo>
                          <a:pt x="2087" y="847"/>
                          <a:pt x="2066" y="823"/>
                          <a:pt x="2066" y="823"/>
                        </a:cubicBezTo>
                        <a:cubicBezTo>
                          <a:pt x="2066" y="823"/>
                          <a:pt x="2065" y="801"/>
                          <a:pt x="2057" y="790"/>
                        </a:cubicBezTo>
                        <a:cubicBezTo>
                          <a:pt x="2048" y="778"/>
                          <a:pt x="2020" y="736"/>
                          <a:pt x="2022" y="722"/>
                        </a:cubicBezTo>
                        <a:cubicBezTo>
                          <a:pt x="2024" y="712"/>
                          <a:pt x="2026" y="650"/>
                          <a:pt x="2028" y="620"/>
                        </a:cubicBezTo>
                        <a:cubicBezTo>
                          <a:pt x="2019" y="620"/>
                          <a:pt x="2007" y="621"/>
                          <a:pt x="1996" y="620"/>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528">
                    <a:extLst>
                      <a:ext uri="{FF2B5EF4-FFF2-40B4-BE49-F238E27FC236}">
                        <a16:creationId xmlns:a16="http://schemas.microsoft.com/office/drawing/2014/main" id="{E4B32FEC-36A8-A81F-5CDC-417857AAEFB0}"/>
                      </a:ext>
                    </a:extLst>
                  </p:cNvPr>
                  <p:cNvSpPr>
                    <a:spLocks noChangeAspect="1"/>
                  </p:cNvSpPr>
                  <p:nvPr/>
                </p:nvSpPr>
                <p:spPr bwMode="auto">
                  <a:xfrm>
                    <a:off x="5879846" y="3871891"/>
                    <a:ext cx="943971" cy="567388"/>
                  </a:xfrm>
                  <a:custGeom>
                    <a:avLst/>
                    <a:gdLst>
                      <a:gd name="T0" fmla="*/ 2280 w 2415"/>
                      <a:gd name="T1" fmla="*/ 866 h 1457"/>
                      <a:gd name="T2" fmla="*/ 2135 w 2415"/>
                      <a:gd name="T3" fmla="*/ 816 h 1457"/>
                      <a:gd name="T4" fmla="*/ 1923 w 2415"/>
                      <a:gd name="T5" fmla="*/ 829 h 1457"/>
                      <a:gd name="T6" fmla="*/ 1840 w 2415"/>
                      <a:gd name="T7" fmla="*/ 778 h 1457"/>
                      <a:gd name="T8" fmla="*/ 1798 w 2415"/>
                      <a:gd name="T9" fmla="*/ 738 h 1457"/>
                      <a:gd name="T10" fmla="*/ 1744 w 2415"/>
                      <a:gd name="T11" fmla="*/ 661 h 1457"/>
                      <a:gd name="T12" fmla="*/ 1720 w 2415"/>
                      <a:gd name="T13" fmla="*/ 578 h 1457"/>
                      <a:gd name="T14" fmla="*/ 1815 w 2415"/>
                      <a:gd name="T15" fmla="*/ 469 h 1457"/>
                      <a:gd name="T16" fmla="*/ 1874 w 2415"/>
                      <a:gd name="T17" fmla="*/ 356 h 1457"/>
                      <a:gd name="T18" fmla="*/ 1776 w 2415"/>
                      <a:gd name="T19" fmla="*/ 314 h 1457"/>
                      <a:gd name="T20" fmla="*/ 1642 w 2415"/>
                      <a:gd name="T21" fmla="*/ 308 h 1457"/>
                      <a:gd name="T22" fmla="*/ 1611 w 2415"/>
                      <a:gd name="T23" fmla="*/ 165 h 1457"/>
                      <a:gd name="T24" fmla="*/ 1519 w 2415"/>
                      <a:gd name="T25" fmla="*/ 195 h 1457"/>
                      <a:gd name="T26" fmla="*/ 1477 w 2415"/>
                      <a:gd name="T27" fmla="*/ 324 h 1457"/>
                      <a:gd name="T28" fmla="*/ 1355 w 2415"/>
                      <a:gd name="T29" fmla="*/ 356 h 1457"/>
                      <a:gd name="T30" fmla="*/ 1272 w 2415"/>
                      <a:gd name="T31" fmla="*/ 257 h 1457"/>
                      <a:gd name="T32" fmla="*/ 1167 w 2415"/>
                      <a:gd name="T33" fmla="*/ 244 h 1457"/>
                      <a:gd name="T34" fmla="*/ 1092 w 2415"/>
                      <a:gd name="T35" fmla="*/ 321 h 1457"/>
                      <a:gd name="T36" fmla="*/ 1036 w 2415"/>
                      <a:gd name="T37" fmla="*/ 300 h 1457"/>
                      <a:gd name="T38" fmla="*/ 1006 w 2415"/>
                      <a:gd name="T39" fmla="*/ 170 h 1457"/>
                      <a:gd name="T40" fmla="*/ 939 w 2415"/>
                      <a:gd name="T41" fmla="*/ 38 h 1457"/>
                      <a:gd name="T42" fmla="*/ 844 w 2415"/>
                      <a:gd name="T43" fmla="*/ 22 h 1457"/>
                      <a:gd name="T44" fmla="*/ 714 w 2415"/>
                      <a:gd name="T45" fmla="*/ 51 h 1457"/>
                      <a:gd name="T46" fmla="*/ 674 w 2415"/>
                      <a:gd name="T47" fmla="*/ 22 h 1457"/>
                      <a:gd name="T48" fmla="*/ 602 w 2415"/>
                      <a:gd name="T49" fmla="*/ 42 h 1457"/>
                      <a:gd name="T50" fmla="*/ 549 w 2415"/>
                      <a:gd name="T51" fmla="*/ 128 h 1457"/>
                      <a:gd name="T52" fmla="*/ 550 w 2415"/>
                      <a:gd name="T53" fmla="*/ 570 h 1457"/>
                      <a:gd name="T54" fmla="*/ 437 w 2415"/>
                      <a:gd name="T55" fmla="*/ 738 h 1457"/>
                      <a:gd name="T56" fmla="*/ 140 w 2415"/>
                      <a:gd name="T57" fmla="*/ 862 h 1457"/>
                      <a:gd name="T58" fmla="*/ 0 w 2415"/>
                      <a:gd name="T59" fmla="*/ 965 h 1457"/>
                      <a:gd name="T60" fmla="*/ 27 w 2415"/>
                      <a:gd name="T61" fmla="*/ 1063 h 1457"/>
                      <a:gd name="T62" fmla="*/ 39 w 2415"/>
                      <a:gd name="T63" fmla="*/ 1150 h 1457"/>
                      <a:gd name="T64" fmla="*/ 15 w 2415"/>
                      <a:gd name="T65" fmla="*/ 1273 h 1457"/>
                      <a:gd name="T66" fmla="*/ 224 w 2415"/>
                      <a:gd name="T67" fmla="*/ 1261 h 1457"/>
                      <a:gd name="T68" fmla="*/ 329 w 2415"/>
                      <a:gd name="T69" fmla="*/ 1215 h 1457"/>
                      <a:gd name="T70" fmla="*/ 536 w 2415"/>
                      <a:gd name="T71" fmla="*/ 1189 h 1457"/>
                      <a:gd name="T72" fmla="*/ 617 w 2415"/>
                      <a:gd name="T73" fmla="*/ 1202 h 1457"/>
                      <a:gd name="T74" fmla="*/ 757 w 2415"/>
                      <a:gd name="T75" fmla="*/ 1244 h 1457"/>
                      <a:gd name="T76" fmla="*/ 903 w 2415"/>
                      <a:gd name="T77" fmla="*/ 1278 h 1457"/>
                      <a:gd name="T78" fmla="*/ 1032 w 2415"/>
                      <a:gd name="T79" fmla="*/ 1322 h 1457"/>
                      <a:gd name="T80" fmla="*/ 1179 w 2415"/>
                      <a:gd name="T81" fmla="*/ 1375 h 1457"/>
                      <a:gd name="T82" fmla="*/ 1258 w 2415"/>
                      <a:gd name="T83" fmla="*/ 1420 h 1457"/>
                      <a:gd name="T84" fmla="*/ 1325 w 2415"/>
                      <a:gd name="T85" fmla="*/ 1454 h 1457"/>
                      <a:gd name="T86" fmla="*/ 1301 w 2415"/>
                      <a:gd name="T87" fmla="*/ 1353 h 1457"/>
                      <a:gd name="T88" fmla="*/ 1260 w 2415"/>
                      <a:gd name="T89" fmla="*/ 1245 h 1457"/>
                      <a:gd name="T90" fmla="*/ 1326 w 2415"/>
                      <a:gd name="T91" fmla="*/ 1159 h 1457"/>
                      <a:gd name="T92" fmla="*/ 1433 w 2415"/>
                      <a:gd name="T93" fmla="*/ 1106 h 1457"/>
                      <a:gd name="T94" fmla="*/ 1580 w 2415"/>
                      <a:gd name="T95" fmla="*/ 1159 h 1457"/>
                      <a:gd name="T96" fmla="*/ 1717 w 2415"/>
                      <a:gd name="T97" fmla="*/ 1189 h 1457"/>
                      <a:gd name="T98" fmla="*/ 1887 w 2415"/>
                      <a:gd name="T99" fmla="*/ 1202 h 1457"/>
                      <a:gd name="T100" fmla="*/ 1947 w 2415"/>
                      <a:gd name="T101" fmla="*/ 1258 h 1457"/>
                      <a:gd name="T102" fmla="*/ 1987 w 2415"/>
                      <a:gd name="T103" fmla="*/ 1343 h 1457"/>
                      <a:gd name="T104" fmla="*/ 2102 w 2415"/>
                      <a:gd name="T105" fmla="*/ 1275 h 1457"/>
                      <a:gd name="T106" fmla="*/ 2164 w 2415"/>
                      <a:gd name="T107" fmla="*/ 1217 h 1457"/>
                      <a:gd name="T108" fmla="*/ 2159 w 2415"/>
                      <a:gd name="T109" fmla="*/ 1104 h 1457"/>
                      <a:gd name="T110" fmla="*/ 2116 w 2415"/>
                      <a:gd name="T111" fmla="*/ 1031 h 1457"/>
                      <a:gd name="T112" fmla="*/ 2185 w 2415"/>
                      <a:gd name="T113" fmla="*/ 961 h 1457"/>
                      <a:gd name="T114" fmla="*/ 2358 w 2415"/>
                      <a:gd name="T115" fmla="*/ 972 h 1457"/>
                      <a:gd name="T116" fmla="*/ 2415 w 2415"/>
                      <a:gd name="T117" fmla="*/ 930 h 1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15" h="1457">
                        <a:moveTo>
                          <a:pt x="2388" y="905"/>
                        </a:moveTo>
                        <a:cubicBezTo>
                          <a:pt x="2369" y="905"/>
                          <a:pt x="2307" y="902"/>
                          <a:pt x="2307" y="902"/>
                        </a:cubicBezTo>
                        <a:cubicBezTo>
                          <a:pt x="2307" y="902"/>
                          <a:pt x="2285" y="867"/>
                          <a:pt x="2280" y="866"/>
                        </a:cubicBezTo>
                        <a:cubicBezTo>
                          <a:pt x="2274" y="864"/>
                          <a:pt x="2264" y="864"/>
                          <a:pt x="2262" y="864"/>
                        </a:cubicBezTo>
                        <a:cubicBezTo>
                          <a:pt x="2260" y="864"/>
                          <a:pt x="2208" y="828"/>
                          <a:pt x="2194" y="828"/>
                        </a:cubicBezTo>
                        <a:cubicBezTo>
                          <a:pt x="2181" y="828"/>
                          <a:pt x="2139" y="816"/>
                          <a:pt x="2135" y="816"/>
                        </a:cubicBezTo>
                        <a:cubicBezTo>
                          <a:pt x="2131" y="816"/>
                          <a:pt x="2067" y="812"/>
                          <a:pt x="2054" y="820"/>
                        </a:cubicBezTo>
                        <a:cubicBezTo>
                          <a:pt x="2042" y="828"/>
                          <a:pt x="2025" y="834"/>
                          <a:pt x="2023" y="834"/>
                        </a:cubicBezTo>
                        <a:cubicBezTo>
                          <a:pt x="2021" y="834"/>
                          <a:pt x="1924" y="824"/>
                          <a:pt x="1923" y="829"/>
                        </a:cubicBezTo>
                        <a:cubicBezTo>
                          <a:pt x="1922" y="834"/>
                          <a:pt x="1900" y="850"/>
                          <a:pt x="1890" y="841"/>
                        </a:cubicBezTo>
                        <a:cubicBezTo>
                          <a:pt x="1881" y="832"/>
                          <a:pt x="1884" y="826"/>
                          <a:pt x="1876" y="816"/>
                        </a:cubicBezTo>
                        <a:cubicBezTo>
                          <a:pt x="1869" y="805"/>
                          <a:pt x="1840" y="778"/>
                          <a:pt x="1840" y="778"/>
                        </a:cubicBezTo>
                        <a:cubicBezTo>
                          <a:pt x="1840" y="778"/>
                          <a:pt x="1833" y="789"/>
                          <a:pt x="1824" y="790"/>
                        </a:cubicBezTo>
                        <a:cubicBezTo>
                          <a:pt x="1816" y="790"/>
                          <a:pt x="1782" y="789"/>
                          <a:pt x="1787" y="778"/>
                        </a:cubicBezTo>
                        <a:cubicBezTo>
                          <a:pt x="1792" y="768"/>
                          <a:pt x="1798" y="747"/>
                          <a:pt x="1798" y="738"/>
                        </a:cubicBezTo>
                        <a:cubicBezTo>
                          <a:pt x="1798" y="728"/>
                          <a:pt x="1793" y="713"/>
                          <a:pt x="1781" y="707"/>
                        </a:cubicBezTo>
                        <a:cubicBezTo>
                          <a:pt x="1769" y="701"/>
                          <a:pt x="1754" y="706"/>
                          <a:pt x="1754" y="696"/>
                        </a:cubicBezTo>
                        <a:cubicBezTo>
                          <a:pt x="1755" y="687"/>
                          <a:pt x="1746" y="664"/>
                          <a:pt x="1744" y="661"/>
                        </a:cubicBezTo>
                        <a:cubicBezTo>
                          <a:pt x="1743" y="658"/>
                          <a:pt x="1746" y="651"/>
                          <a:pt x="1735" y="640"/>
                        </a:cubicBezTo>
                        <a:cubicBezTo>
                          <a:pt x="1724" y="628"/>
                          <a:pt x="1717" y="630"/>
                          <a:pt x="1717" y="618"/>
                        </a:cubicBezTo>
                        <a:cubicBezTo>
                          <a:pt x="1717" y="606"/>
                          <a:pt x="1720" y="584"/>
                          <a:pt x="1720" y="578"/>
                        </a:cubicBezTo>
                        <a:cubicBezTo>
                          <a:pt x="1720" y="571"/>
                          <a:pt x="1764" y="530"/>
                          <a:pt x="1768" y="524"/>
                        </a:cubicBezTo>
                        <a:cubicBezTo>
                          <a:pt x="1772" y="518"/>
                          <a:pt x="1763" y="487"/>
                          <a:pt x="1776" y="481"/>
                        </a:cubicBezTo>
                        <a:cubicBezTo>
                          <a:pt x="1790" y="475"/>
                          <a:pt x="1804" y="479"/>
                          <a:pt x="1815" y="469"/>
                        </a:cubicBezTo>
                        <a:cubicBezTo>
                          <a:pt x="1826" y="459"/>
                          <a:pt x="1834" y="464"/>
                          <a:pt x="1838" y="440"/>
                        </a:cubicBezTo>
                        <a:cubicBezTo>
                          <a:pt x="1841" y="417"/>
                          <a:pt x="1860" y="396"/>
                          <a:pt x="1864" y="384"/>
                        </a:cubicBezTo>
                        <a:cubicBezTo>
                          <a:pt x="1868" y="372"/>
                          <a:pt x="1876" y="359"/>
                          <a:pt x="1874" y="356"/>
                        </a:cubicBezTo>
                        <a:cubicBezTo>
                          <a:pt x="1873" y="352"/>
                          <a:pt x="1865" y="342"/>
                          <a:pt x="1865" y="342"/>
                        </a:cubicBezTo>
                        <a:cubicBezTo>
                          <a:pt x="1865" y="342"/>
                          <a:pt x="1874" y="307"/>
                          <a:pt x="1866" y="307"/>
                        </a:cubicBezTo>
                        <a:cubicBezTo>
                          <a:pt x="1858" y="307"/>
                          <a:pt x="1787" y="310"/>
                          <a:pt x="1776" y="314"/>
                        </a:cubicBezTo>
                        <a:cubicBezTo>
                          <a:pt x="1766" y="318"/>
                          <a:pt x="1758" y="322"/>
                          <a:pt x="1748" y="321"/>
                        </a:cubicBezTo>
                        <a:cubicBezTo>
                          <a:pt x="1739" y="320"/>
                          <a:pt x="1723" y="318"/>
                          <a:pt x="1720" y="318"/>
                        </a:cubicBezTo>
                        <a:cubicBezTo>
                          <a:pt x="1716" y="318"/>
                          <a:pt x="1650" y="320"/>
                          <a:pt x="1642" y="308"/>
                        </a:cubicBezTo>
                        <a:cubicBezTo>
                          <a:pt x="1635" y="296"/>
                          <a:pt x="1641" y="280"/>
                          <a:pt x="1637" y="268"/>
                        </a:cubicBezTo>
                        <a:cubicBezTo>
                          <a:pt x="1633" y="256"/>
                          <a:pt x="1623" y="250"/>
                          <a:pt x="1622" y="243"/>
                        </a:cubicBezTo>
                        <a:cubicBezTo>
                          <a:pt x="1622" y="236"/>
                          <a:pt x="1611" y="165"/>
                          <a:pt x="1611" y="165"/>
                        </a:cubicBezTo>
                        <a:cubicBezTo>
                          <a:pt x="1611" y="165"/>
                          <a:pt x="1561" y="171"/>
                          <a:pt x="1558" y="166"/>
                        </a:cubicBezTo>
                        <a:cubicBezTo>
                          <a:pt x="1557" y="163"/>
                          <a:pt x="1547" y="156"/>
                          <a:pt x="1538" y="149"/>
                        </a:cubicBezTo>
                        <a:cubicBezTo>
                          <a:pt x="1529" y="169"/>
                          <a:pt x="1521" y="187"/>
                          <a:pt x="1519" y="195"/>
                        </a:cubicBezTo>
                        <a:cubicBezTo>
                          <a:pt x="1513" y="216"/>
                          <a:pt x="1505" y="239"/>
                          <a:pt x="1502" y="242"/>
                        </a:cubicBezTo>
                        <a:cubicBezTo>
                          <a:pt x="1500" y="244"/>
                          <a:pt x="1485" y="265"/>
                          <a:pt x="1484" y="268"/>
                        </a:cubicBezTo>
                        <a:cubicBezTo>
                          <a:pt x="1482" y="272"/>
                          <a:pt x="1494" y="318"/>
                          <a:pt x="1477" y="324"/>
                        </a:cubicBezTo>
                        <a:cubicBezTo>
                          <a:pt x="1460" y="331"/>
                          <a:pt x="1454" y="324"/>
                          <a:pt x="1446" y="330"/>
                        </a:cubicBezTo>
                        <a:cubicBezTo>
                          <a:pt x="1438" y="336"/>
                          <a:pt x="1419" y="358"/>
                          <a:pt x="1412" y="358"/>
                        </a:cubicBezTo>
                        <a:cubicBezTo>
                          <a:pt x="1404" y="358"/>
                          <a:pt x="1355" y="356"/>
                          <a:pt x="1355" y="356"/>
                        </a:cubicBezTo>
                        <a:cubicBezTo>
                          <a:pt x="1355" y="356"/>
                          <a:pt x="1320" y="332"/>
                          <a:pt x="1317" y="319"/>
                        </a:cubicBezTo>
                        <a:cubicBezTo>
                          <a:pt x="1314" y="306"/>
                          <a:pt x="1308" y="293"/>
                          <a:pt x="1302" y="289"/>
                        </a:cubicBezTo>
                        <a:cubicBezTo>
                          <a:pt x="1296" y="285"/>
                          <a:pt x="1274" y="263"/>
                          <a:pt x="1272" y="257"/>
                        </a:cubicBezTo>
                        <a:cubicBezTo>
                          <a:pt x="1270" y="251"/>
                          <a:pt x="1269" y="242"/>
                          <a:pt x="1266" y="242"/>
                        </a:cubicBezTo>
                        <a:cubicBezTo>
                          <a:pt x="1264" y="242"/>
                          <a:pt x="1196" y="232"/>
                          <a:pt x="1196" y="232"/>
                        </a:cubicBezTo>
                        <a:cubicBezTo>
                          <a:pt x="1196" y="232"/>
                          <a:pt x="1177" y="244"/>
                          <a:pt x="1167" y="244"/>
                        </a:cubicBezTo>
                        <a:cubicBezTo>
                          <a:pt x="1157" y="244"/>
                          <a:pt x="1148" y="254"/>
                          <a:pt x="1148" y="256"/>
                        </a:cubicBezTo>
                        <a:cubicBezTo>
                          <a:pt x="1147" y="259"/>
                          <a:pt x="1131" y="290"/>
                          <a:pt x="1115" y="300"/>
                        </a:cubicBezTo>
                        <a:cubicBezTo>
                          <a:pt x="1099" y="310"/>
                          <a:pt x="1107" y="309"/>
                          <a:pt x="1092" y="321"/>
                        </a:cubicBezTo>
                        <a:cubicBezTo>
                          <a:pt x="1078" y="333"/>
                          <a:pt x="1060" y="355"/>
                          <a:pt x="1057" y="356"/>
                        </a:cubicBezTo>
                        <a:cubicBezTo>
                          <a:pt x="1054" y="358"/>
                          <a:pt x="1045" y="369"/>
                          <a:pt x="1044" y="357"/>
                        </a:cubicBezTo>
                        <a:cubicBezTo>
                          <a:pt x="1042" y="345"/>
                          <a:pt x="1034" y="322"/>
                          <a:pt x="1036" y="300"/>
                        </a:cubicBezTo>
                        <a:cubicBezTo>
                          <a:pt x="1037" y="278"/>
                          <a:pt x="1044" y="272"/>
                          <a:pt x="1044" y="255"/>
                        </a:cubicBezTo>
                        <a:cubicBezTo>
                          <a:pt x="1044" y="238"/>
                          <a:pt x="1034" y="189"/>
                          <a:pt x="1028" y="180"/>
                        </a:cubicBezTo>
                        <a:cubicBezTo>
                          <a:pt x="1022" y="170"/>
                          <a:pt x="1012" y="179"/>
                          <a:pt x="1006" y="170"/>
                        </a:cubicBezTo>
                        <a:cubicBezTo>
                          <a:pt x="1000" y="162"/>
                          <a:pt x="977" y="128"/>
                          <a:pt x="976" y="114"/>
                        </a:cubicBezTo>
                        <a:cubicBezTo>
                          <a:pt x="976" y="100"/>
                          <a:pt x="959" y="79"/>
                          <a:pt x="958" y="68"/>
                        </a:cubicBezTo>
                        <a:cubicBezTo>
                          <a:pt x="956" y="56"/>
                          <a:pt x="941" y="45"/>
                          <a:pt x="939" y="38"/>
                        </a:cubicBezTo>
                        <a:cubicBezTo>
                          <a:pt x="937" y="30"/>
                          <a:pt x="928" y="6"/>
                          <a:pt x="923" y="4"/>
                        </a:cubicBezTo>
                        <a:cubicBezTo>
                          <a:pt x="918" y="3"/>
                          <a:pt x="884" y="0"/>
                          <a:pt x="880" y="4"/>
                        </a:cubicBezTo>
                        <a:cubicBezTo>
                          <a:pt x="877" y="7"/>
                          <a:pt x="844" y="22"/>
                          <a:pt x="844" y="22"/>
                        </a:cubicBezTo>
                        <a:cubicBezTo>
                          <a:pt x="844" y="22"/>
                          <a:pt x="849" y="33"/>
                          <a:pt x="830" y="53"/>
                        </a:cubicBezTo>
                        <a:cubicBezTo>
                          <a:pt x="812" y="73"/>
                          <a:pt x="784" y="89"/>
                          <a:pt x="778" y="88"/>
                        </a:cubicBezTo>
                        <a:cubicBezTo>
                          <a:pt x="772" y="88"/>
                          <a:pt x="727" y="40"/>
                          <a:pt x="714" y="51"/>
                        </a:cubicBezTo>
                        <a:cubicBezTo>
                          <a:pt x="702" y="62"/>
                          <a:pt x="694" y="76"/>
                          <a:pt x="690" y="69"/>
                        </a:cubicBezTo>
                        <a:cubicBezTo>
                          <a:pt x="685" y="62"/>
                          <a:pt x="681" y="54"/>
                          <a:pt x="681" y="50"/>
                        </a:cubicBezTo>
                        <a:cubicBezTo>
                          <a:pt x="681" y="47"/>
                          <a:pt x="684" y="22"/>
                          <a:pt x="674" y="22"/>
                        </a:cubicBezTo>
                        <a:cubicBezTo>
                          <a:pt x="665" y="22"/>
                          <a:pt x="644" y="25"/>
                          <a:pt x="644" y="25"/>
                        </a:cubicBezTo>
                        <a:cubicBezTo>
                          <a:pt x="638" y="42"/>
                          <a:pt x="638" y="42"/>
                          <a:pt x="638" y="42"/>
                        </a:cubicBezTo>
                        <a:cubicBezTo>
                          <a:pt x="602" y="42"/>
                          <a:pt x="602" y="42"/>
                          <a:pt x="602" y="42"/>
                        </a:cubicBezTo>
                        <a:cubicBezTo>
                          <a:pt x="602" y="42"/>
                          <a:pt x="602" y="42"/>
                          <a:pt x="602" y="42"/>
                        </a:cubicBezTo>
                        <a:cubicBezTo>
                          <a:pt x="616" y="54"/>
                          <a:pt x="628" y="63"/>
                          <a:pt x="628" y="63"/>
                        </a:cubicBezTo>
                        <a:cubicBezTo>
                          <a:pt x="549" y="128"/>
                          <a:pt x="549" y="128"/>
                          <a:pt x="549" y="128"/>
                        </a:cubicBezTo>
                        <a:cubicBezTo>
                          <a:pt x="574" y="272"/>
                          <a:pt x="574" y="272"/>
                          <a:pt x="574" y="272"/>
                        </a:cubicBezTo>
                        <a:cubicBezTo>
                          <a:pt x="574" y="272"/>
                          <a:pt x="557" y="302"/>
                          <a:pt x="556" y="304"/>
                        </a:cubicBezTo>
                        <a:cubicBezTo>
                          <a:pt x="556" y="307"/>
                          <a:pt x="550" y="570"/>
                          <a:pt x="550" y="570"/>
                        </a:cubicBezTo>
                        <a:cubicBezTo>
                          <a:pt x="550" y="570"/>
                          <a:pt x="506" y="652"/>
                          <a:pt x="483" y="671"/>
                        </a:cubicBezTo>
                        <a:cubicBezTo>
                          <a:pt x="460" y="690"/>
                          <a:pt x="449" y="698"/>
                          <a:pt x="446" y="710"/>
                        </a:cubicBezTo>
                        <a:cubicBezTo>
                          <a:pt x="444" y="722"/>
                          <a:pt x="437" y="738"/>
                          <a:pt x="437" y="738"/>
                        </a:cubicBezTo>
                        <a:cubicBezTo>
                          <a:pt x="437" y="738"/>
                          <a:pt x="372" y="776"/>
                          <a:pt x="354" y="792"/>
                        </a:cubicBezTo>
                        <a:cubicBezTo>
                          <a:pt x="336" y="809"/>
                          <a:pt x="268" y="826"/>
                          <a:pt x="247" y="830"/>
                        </a:cubicBezTo>
                        <a:cubicBezTo>
                          <a:pt x="226" y="835"/>
                          <a:pt x="140" y="862"/>
                          <a:pt x="140" y="862"/>
                        </a:cubicBezTo>
                        <a:cubicBezTo>
                          <a:pt x="54" y="860"/>
                          <a:pt x="54" y="860"/>
                          <a:pt x="54" y="860"/>
                        </a:cubicBezTo>
                        <a:cubicBezTo>
                          <a:pt x="54" y="868"/>
                          <a:pt x="53" y="876"/>
                          <a:pt x="47" y="881"/>
                        </a:cubicBezTo>
                        <a:cubicBezTo>
                          <a:pt x="33" y="892"/>
                          <a:pt x="0" y="961"/>
                          <a:pt x="0" y="965"/>
                        </a:cubicBezTo>
                        <a:cubicBezTo>
                          <a:pt x="0" y="968"/>
                          <a:pt x="2" y="995"/>
                          <a:pt x="2" y="995"/>
                        </a:cubicBezTo>
                        <a:cubicBezTo>
                          <a:pt x="2" y="995"/>
                          <a:pt x="9" y="998"/>
                          <a:pt x="13" y="1010"/>
                        </a:cubicBezTo>
                        <a:cubicBezTo>
                          <a:pt x="16" y="1021"/>
                          <a:pt x="25" y="1057"/>
                          <a:pt x="27" y="1063"/>
                        </a:cubicBezTo>
                        <a:cubicBezTo>
                          <a:pt x="30" y="1070"/>
                          <a:pt x="54" y="1090"/>
                          <a:pt x="54" y="1090"/>
                        </a:cubicBezTo>
                        <a:cubicBezTo>
                          <a:pt x="33" y="1117"/>
                          <a:pt x="33" y="1117"/>
                          <a:pt x="33" y="1117"/>
                        </a:cubicBezTo>
                        <a:cubicBezTo>
                          <a:pt x="39" y="1150"/>
                          <a:pt x="39" y="1150"/>
                          <a:pt x="39" y="1150"/>
                        </a:cubicBezTo>
                        <a:cubicBezTo>
                          <a:pt x="49" y="1159"/>
                          <a:pt x="49" y="1159"/>
                          <a:pt x="49" y="1159"/>
                        </a:cubicBezTo>
                        <a:cubicBezTo>
                          <a:pt x="49" y="1159"/>
                          <a:pt x="35" y="1194"/>
                          <a:pt x="30" y="1203"/>
                        </a:cubicBezTo>
                        <a:cubicBezTo>
                          <a:pt x="24" y="1212"/>
                          <a:pt x="27" y="1259"/>
                          <a:pt x="15" y="1273"/>
                        </a:cubicBezTo>
                        <a:cubicBezTo>
                          <a:pt x="3" y="1287"/>
                          <a:pt x="0" y="1354"/>
                          <a:pt x="20" y="1342"/>
                        </a:cubicBezTo>
                        <a:cubicBezTo>
                          <a:pt x="41" y="1331"/>
                          <a:pt x="102" y="1288"/>
                          <a:pt x="114" y="1287"/>
                        </a:cubicBezTo>
                        <a:cubicBezTo>
                          <a:pt x="126" y="1286"/>
                          <a:pt x="203" y="1266"/>
                          <a:pt x="224" y="1261"/>
                        </a:cubicBezTo>
                        <a:cubicBezTo>
                          <a:pt x="245" y="1257"/>
                          <a:pt x="251" y="1244"/>
                          <a:pt x="264" y="1241"/>
                        </a:cubicBezTo>
                        <a:cubicBezTo>
                          <a:pt x="276" y="1238"/>
                          <a:pt x="289" y="1236"/>
                          <a:pt x="299" y="1232"/>
                        </a:cubicBezTo>
                        <a:cubicBezTo>
                          <a:pt x="309" y="1228"/>
                          <a:pt x="324" y="1215"/>
                          <a:pt x="329" y="1215"/>
                        </a:cubicBezTo>
                        <a:cubicBezTo>
                          <a:pt x="333" y="1215"/>
                          <a:pt x="355" y="1219"/>
                          <a:pt x="378" y="1211"/>
                        </a:cubicBezTo>
                        <a:cubicBezTo>
                          <a:pt x="401" y="1204"/>
                          <a:pt x="415" y="1199"/>
                          <a:pt x="445" y="1199"/>
                        </a:cubicBezTo>
                        <a:cubicBezTo>
                          <a:pt x="474" y="1198"/>
                          <a:pt x="517" y="1188"/>
                          <a:pt x="536" y="1189"/>
                        </a:cubicBezTo>
                        <a:cubicBezTo>
                          <a:pt x="555" y="1189"/>
                          <a:pt x="552" y="1201"/>
                          <a:pt x="571" y="1202"/>
                        </a:cubicBezTo>
                        <a:cubicBezTo>
                          <a:pt x="582" y="1203"/>
                          <a:pt x="594" y="1202"/>
                          <a:pt x="603" y="1202"/>
                        </a:cubicBezTo>
                        <a:cubicBezTo>
                          <a:pt x="609" y="1202"/>
                          <a:pt x="615" y="1202"/>
                          <a:pt x="617" y="1202"/>
                        </a:cubicBezTo>
                        <a:cubicBezTo>
                          <a:pt x="623" y="1204"/>
                          <a:pt x="676" y="1218"/>
                          <a:pt x="687" y="1227"/>
                        </a:cubicBezTo>
                        <a:cubicBezTo>
                          <a:pt x="698" y="1236"/>
                          <a:pt x="707" y="1241"/>
                          <a:pt x="717" y="1242"/>
                        </a:cubicBezTo>
                        <a:cubicBezTo>
                          <a:pt x="728" y="1244"/>
                          <a:pt x="754" y="1239"/>
                          <a:pt x="757" y="1244"/>
                        </a:cubicBezTo>
                        <a:cubicBezTo>
                          <a:pt x="761" y="1249"/>
                          <a:pt x="766" y="1257"/>
                          <a:pt x="769" y="1257"/>
                        </a:cubicBezTo>
                        <a:cubicBezTo>
                          <a:pt x="772" y="1258"/>
                          <a:pt x="844" y="1270"/>
                          <a:pt x="860" y="1270"/>
                        </a:cubicBezTo>
                        <a:cubicBezTo>
                          <a:pt x="876" y="1271"/>
                          <a:pt x="901" y="1277"/>
                          <a:pt x="903" y="1278"/>
                        </a:cubicBezTo>
                        <a:cubicBezTo>
                          <a:pt x="904" y="1280"/>
                          <a:pt x="937" y="1285"/>
                          <a:pt x="947" y="1290"/>
                        </a:cubicBezTo>
                        <a:cubicBezTo>
                          <a:pt x="958" y="1294"/>
                          <a:pt x="961" y="1301"/>
                          <a:pt x="982" y="1304"/>
                        </a:cubicBezTo>
                        <a:cubicBezTo>
                          <a:pt x="1004" y="1307"/>
                          <a:pt x="1014" y="1314"/>
                          <a:pt x="1032" y="1322"/>
                        </a:cubicBezTo>
                        <a:cubicBezTo>
                          <a:pt x="1050" y="1330"/>
                          <a:pt x="1069" y="1343"/>
                          <a:pt x="1082" y="1343"/>
                        </a:cubicBezTo>
                        <a:cubicBezTo>
                          <a:pt x="1094" y="1343"/>
                          <a:pt x="1131" y="1361"/>
                          <a:pt x="1145" y="1364"/>
                        </a:cubicBezTo>
                        <a:cubicBezTo>
                          <a:pt x="1160" y="1368"/>
                          <a:pt x="1168" y="1373"/>
                          <a:pt x="1179" y="1375"/>
                        </a:cubicBezTo>
                        <a:cubicBezTo>
                          <a:pt x="1189" y="1377"/>
                          <a:pt x="1200" y="1385"/>
                          <a:pt x="1204" y="1395"/>
                        </a:cubicBezTo>
                        <a:cubicBezTo>
                          <a:pt x="1208" y="1406"/>
                          <a:pt x="1220" y="1411"/>
                          <a:pt x="1227" y="1414"/>
                        </a:cubicBezTo>
                        <a:cubicBezTo>
                          <a:pt x="1235" y="1417"/>
                          <a:pt x="1253" y="1420"/>
                          <a:pt x="1258" y="1420"/>
                        </a:cubicBezTo>
                        <a:cubicBezTo>
                          <a:pt x="1262" y="1421"/>
                          <a:pt x="1277" y="1431"/>
                          <a:pt x="1284" y="1436"/>
                        </a:cubicBezTo>
                        <a:cubicBezTo>
                          <a:pt x="1290" y="1441"/>
                          <a:pt x="1300" y="1456"/>
                          <a:pt x="1310" y="1456"/>
                        </a:cubicBezTo>
                        <a:cubicBezTo>
                          <a:pt x="1320" y="1456"/>
                          <a:pt x="1322" y="1457"/>
                          <a:pt x="1325" y="1454"/>
                        </a:cubicBezTo>
                        <a:cubicBezTo>
                          <a:pt x="1328" y="1451"/>
                          <a:pt x="1333" y="1434"/>
                          <a:pt x="1333" y="1434"/>
                        </a:cubicBezTo>
                        <a:cubicBezTo>
                          <a:pt x="1333" y="1434"/>
                          <a:pt x="1324" y="1424"/>
                          <a:pt x="1321" y="1406"/>
                        </a:cubicBezTo>
                        <a:cubicBezTo>
                          <a:pt x="1317" y="1388"/>
                          <a:pt x="1308" y="1362"/>
                          <a:pt x="1301" y="1353"/>
                        </a:cubicBezTo>
                        <a:cubicBezTo>
                          <a:pt x="1295" y="1343"/>
                          <a:pt x="1290" y="1327"/>
                          <a:pt x="1290" y="1321"/>
                        </a:cubicBezTo>
                        <a:cubicBezTo>
                          <a:pt x="1289" y="1315"/>
                          <a:pt x="1266" y="1279"/>
                          <a:pt x="1265" y="1273"/>
                        </a:cubicBezTo>
                        <a:cubicBezTo>
                          <a:pt x="1264" y="1267"/>
                          <a:pt x="1253" y="1249"/>
                          <a:pt x="1260" y="1245"/>
                        </a:cubicBezTo>
                        <a:cubicBezTo>
                          <a:pt x="1267" y="1241"/>
                          <a:pt x="1273" y="1234"/>
                          <a:pt x="1273" y="1230"/>
                        </a:cubicBezTo>
                        <a:cubicBezTo>
                          <a:pt x="1272" y="1226"/>
                          <a:pt x="1274" y="1195"/>
                          <a:pt x="1297" y="1183"/>
                        </a:cubicBezTo>
                        <a:cubicBezTo>
                          <a:pt x="1319" y="1170"/>
                          <a:pt x="1318" y="1161"/>
                          <a:pt x="1326" y="1159"/>
                        </a:cubicBezTo>
                        <a:cubicBezTo>
                          <a:pt x="1333" y="1157"/>
                          <a:pt x="1342" y="1155"/>
                          <a:pt x="1357" y="1141"/>
                        </a:cubicBezTo>
                        <a:cubicBezTo>
                          <a:pt x="1371" y="1127"/>
                          <a:pt x="1389" y="1125"/>
                          <a:pt x="1397" y="1122"/>
                        </a:cubicBezTo>
                        <a:cubicBezTo>
                          <a:pt x="1405" y="1120"/>
                          <a:pt x="1410" y="1105"/>
                          <a:pt x="1433" y="1106"/>
                        </a:cubicBezTo>
                        <a:cubicBezTo>
                          <a:pt x="1457" y="1107"/>
                          <a:pt x="1495" y="1121"/>
                          <a:pt x="1507" y="1130"/>
                        </a:cubicBezTo>
                        <a:cubicBezTo>
                          <a:pt x="1520" y="1139"/>
                          <a:pt x="1518" y="1141"/>
                          <a:pt x="1534" y="1142"/>
                        </a:cubicBezTo>
                        <a:cubicBezTo>
                          <a:pt x="1550" y="1144"/>
                          <a:pt x="1566" y="1156"/>
                          <a:pt x="1580" y="1159"/>
                        </a:cubicBezTo>
                        <a:cubicBezTo>
                          <a:pt x="1594" y="1163"/>
                          <a:pt x="1623" y="1163"/>
                          <a:pt x="1626" y="1165"/>
                        </a:cubicBezTo>
                        <a:cubicBezTo>
                          <a:pt x="1630" y="1167"/>
                          <a:pt x="1661" y="1181"/>
                          <a:pt x="1678" y="1180"/>
                        </a:cubicBezTo>
                        <a:cubicBezTo>
                          <a:pt x="1696" y="1180"/>
                          <a:pt x="1708" y="1189"/>
                          <a:pt x="1717" y="1189"/>
                        </a:cubicBezTo>
                        <a:cubicBezTo>
                          <a:pt x="1725" y="1190"/>
                          <a:pt x="1810" y="1202"/>
                          <a:pt x="1822" y="1198"/>
                        </a:cubicBezTo>
                        <a:cubicBezTo>
                          <a:pt x="1834" y="1194"/>
                          <a:pt x="1833" y="1176"/>
                          <a:pt x="1851" y="1179"/>
                        </a:cubicBezTo>
                        <a:cubicBezTo>
                          <a:pt x="1868" y="1182"/>
                          <a:pt x="1879" y="1199"/>
                          <a:pt x="1887" y="1202"/>
                        </a:cubicBezTo>
                        <a:cubicBezTo>
                          <a:pt x="1895" y="1206"/>
                          <a:pt x="1918" y="1219"/>
                          <a:pt x="1919" y="1223"/>
                        </a:cubicBezTo>
                        <a:cubicBezTo>
                          <a:pt x="1920" y="1227"/>
                          <a:pt x="1934" y="1257"/>
                          <a:pt x="1934" y="1257"/>
                        </a:cubicBezTo>
                        <a:cubicBezTo>
                          <a:pt x="1947" y="1258"/>
                          <a:pt x="1947" y="1258"/>
                          <a:pt x="1947" y="1258"/>
                        </a:cubicBezTo>
                        <a:cubicBezTo>
                          <a:pt x="1947" y="1291"/>
                          <a:pt x="1947" y="1291"/>
                          <a:pt x="1947" y="1291"/>
                        </a:cubicBezTo>
                        <a:cubicBezTo>
                          <a:pt x="1947" y="1291"/>
                          <a:pt x="1984" y="1332"/>
                          <a:pt x="1986" y="1341"/>
                        </a:cubicBezTo>
                        <a:cubicBezTo>
                          <a:pt x="1986" y="1342"/>
                          <a:pt x="1986" y="1343"/>
                          <a:pt x="1987" y="1343"/>
                        </a:cubicBezTo>
                        <a:cubicBezTo>
                          <a:pt x="1993" y="1348"/>
                          <a:pt x="2024" y="1334"/>
                          <a:pt x="2029" y="1334"/>
                        </a:cubicBezTo>
                        <a:cubicBezTo>
                          <a:pt x="2034" y="1333"/>
                          <a:pt x="2068" y="1303"/>
                          <a:pt x="2080" y="1297"/>
                        </a:cubicBezTo>
                        <a:cubicBezTo>
                          <a:pt x="2092" y="1292"/>
                          <a:pt x="2096" y="1281"/>
                          <a:pt x="2102" y="1275"/>
                        </a:cubicBezTo>
                        <a:cubicBezTo>
                          <a:pt x="2109" y="1269"/>
                          <a:pt x="2119" y="1262"/>
                          <a:pt x="2128" y="1258"/>
                        </a:cubicBezTo>
                        <a:cubicBezTo>
                          <a:pt x="2136" y="1255"/>
                          <a:pt x="2160" y="1247"/>
                          <a:pt x="2161" y="1236"/>
                        </a:cubicBezTo>
                        <a:cubicBezTo>
                          <a:pt x="2162" y="1224"/>
                          <a:pt x="2164" y="1217"/>
                          <a:pt x="2164" y="1217"/>
                        </a:cubicBezTo>
                        <a:cubicBezTo>
                          <a:pt x="2175" y="1217"/>
                          <a:pt x="2175" y="1217"/>
                          <a:pt x="2175" y="1217"/>
                        </a:cubicBezTo>
                        <a:cubicBezTo>
                          <a:pt x="2174" y="1145"/>
                          <a:pt x="2174" y="1145"/>
                          <a:pt x="2174" y="1145"/>
                        </a:cubicBezTo>
                        <a:cubicBezTo>
                          <a:pt x="2174" y="1145"/>
                          <a:pt x="2167" y="1116"/>
                          <a:pt x="2159" y="1104"/>
                        </a:cubicBezTo>
                        <a:cubicBezTo>
                          <a:pt x="2151" y="1093"/>
                          <a:pt x="2131" y="1075"/>
                          <a:pt x="2130" y="1069"/>
                        </a:cubicBezTo>
                        <a:cubicBezTo>
                          <a:pt x="2130" y="1062"/>
                          <a:pt x="2129" y="1031"/>
                          <a:pt x="2129" y="1031"/>
                        </a:cubicBezTo>
                        <a:cubicBezTo>
                          <a:pt x="2116" y="1031"/>
                          <a:pt x="2116" y="1031"/>
                          <a:pt x="2116" y="1031"/>
                        </a:cubicBezTo>
                        <a:cubicBezTo>
                          <a:pt x="2116" y="1031"/>
                          <a:pt x="2116" y="1000"/>
                          <a:pt x="2125" y="994"/>
                        </a:cubicBezTo>
                        <a:cubicBezTo>
                          <a:pt x="2135" y="987"/>
                          <a:pt x="2141" y="970"/>
                          <a:pt x="2152" y="966"/>
                        </a:cubicBezTo>
                        <a:cubicBezTo>
                          <a:pt x="2163" y="962"/>
                          <a:pt x="2169" y="959"/>
                          <a:pt x="2185" y="961"/>
                        </a:cubicBezTo>
                        <a:cubicBezTo>
                          <a:pt x="2201" y="963"/>
                          <a:pt x="2239" y="978"/>
                          <a:pt x="2247" y="983"/>
                        </a:cubicBezTo>
                        <a:cubicBezTo>
                          <a:pt x="2255" y="988"/>
                          <a:pt x="2336" y="1002"/>
                          <a:pt x="2343" y="992"/>
                        </a:cubicBezTo>
                        <a:cubicBezTo>
                          <a:pt x="2350" y="982"/>
                          <a:pt x="2352" y="972"/>
                          <a:pt x="2358" y="972"/>
                        </a:cubicBezTo>
                        <a:cubicBezTo>
                          <a:pt x="2363" y="972"/>
                          <a:pt x="2362" y="985"/>
                          <a:pt x="2372" y="971"/>
                        </a:cubicBezTo>
                        <a:cubicBezTo>
                          <a:pt x="2382" y="956"/>
                          <a:pt x="2392" y="938"/>
                          <a:pt x="2396" y="933"/>
                        </a:cubicBezTo>
                        <a:cubicBezTo>
                          <a:pt x="2397" y="931"/>
                          <a:pt x="2405" y="930"/>
                          <a:pt x="2415" y="930"/>
                        </a:cubicBezTo>
                        <a:cubicBezTo>
                          <a:pt x="2409" y="919"/>
                          <a:pt x="2401" y="905"/>
                          <a:pt x="2388" y="905"/>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00"/>
                      </a:solidFill>
                      <a:effectLst/>
                      <a:uLnTx/>
                      <a:uFillTx/>
                      <a:latin typeface="Calibri"/>
                      <a:ea typeface="+mn-ea"/>
                      <a:cs typeface="+mn-cs"/>
                    </a:endParaRPr>
                  </a:p>
                </p:txBody>
              </p:sp>
              <p:sp>
                <p:nvSpPr>
                  <p:cNvPr id="72" name="Freeform 529">
                    <a:extLst>
                      <a:ext uri="{FF2B5EF4-FFF2-40B4-BE49-F238E27FC236}">
                        <a16:creationId xmlns:a16="http://schemas.microsoft.com/office/drawing/2014/main" id="{DFF87A23-2EF1-2399-A52C-822DFADC8626}"/>
                      </a:ext>
                    </a:extLst>
                  </p:cNvPr>
                  <p:cNvSpPr>
                    <a:spLocks noChangeAspect="1"/>
                  </p:cNvSpPr>
                  <p:nvPr/>
                </p:nvSpPr>
                <p:spPr bwMode="auto">
                  <a:xfrm>
                    <a:off x="5163482" y="4319577"/>
                    <a:ext cx="313858" cy="307635"/>
                  </a:xfrm>
                  <a:custGeom>
                    <a:avLst/>
                    <a:gdLst>
                      <a:gd name="T0" fmla="*/ 741 w 803"/>
                      <a:gd name="T1" fmla="*/ 270 h 788"/>
                      <a:gd name="T2" fmla="*/ 700 w 803"/>
                      <a:gd name="T3" fmla="*/ 241 h 788"/>
                      <a:gd name="T4" fmla="*/ 635 w 803"/>
                      <a:gd name="T5" fmla="*/ 200 h 788"/>
                      <a:gd name="T6" fmla="*/ 657 w 803"/>
                      <a:gd name="T7" fmla="*/ 114 h 788"/>
                      <a:gd name="T8" fmla="*/ 683 w 803"/>
                      <a:gd name="T9" fmla="*/ 92 h 788"/>
                      <a:gd name="T10" fmla="*/ 652 w 803"/>
                      <a:gd name="T11" fmla="*/ 51 h 788"/>
                      <a:gd name="T12" fmla="*/ 604 w 803"/>
                      <a:gd name="T13" fmla="*/ 64 h 788"/>
                      <a:gd name="T14" fmla="*/ 560 w 803"/>
                      <a:gd name="T15" fmla="*/ 96 h 788"/>
                      <a:gd name="T16" fmla="*/ 569 w 803"/>
                      <a:gd name="T17" fmla="*/ 38 h 788"/>
                      <a:gd name="T18" fmla="*/ 519 w 803"/>
                      <a:gd name="T19" fmla="*/ 1 h 788"/>
                      <a:gd name="T20" fmla="*/ 437 w 803"/>
                      <a:gd name="T21" fmla="*/ 26 h 788"/>
                      <a:gd name="T22" fmla="*/ 426 w 803"/>
                      <a:gd name="T23" fmla="*/ 72 h 788"/>
                      <a:gd name="T24" fmla="*/ 370 w 803"/>
                      <a:gd name="T25" fmla="*/ 113 h 788"/>
                      <a:gd name="T26" fmla="*/ 276 w 803"/>
                      <a:gd name="T27" fmla="*/ 69 h 788"/>
                      <a:gd name="T28" fmla="*/ 222 w 803"/>
                      <a:gd name="T29" fmla="*/ 31 h 788"/>
                      <a:gd name="T30" fmla="*/ 148 w 803"/>
                      <a:gd name="T31" fmla="*/ 48 h 788"/>
                      <a:gd name="T32" fmla="*/ 139 w 803"/>
                      <a:gd name="T33" fmla="*/ 61 h 788"/>
                      <a:gd name="T34" fmla="*/ 108 w 803"/>
                      <a:gd name="T35" fmla="*/ 116 h 788"/>
                      <a:gd name="T36" fmla="*/ 45 w 803"/>
                      <a:gd name="T37" fmla="*/ 164 h 788"/>
                      <a:gd name="T38" fmla="*/ 12 w 803"/>
                      <a:gd name="T39" fmla="*/ 223 h 788"/>
                      <a:gd name="T40" fmla="*/ 6 w 803"/>
                      <a:gd name="T41" fmla="*/ 267 h 788"/>
                      <a:gd name="T42" fmla="*/ 17 w 803"/>
                      <a:gd name="T43" fmla="*/ 349 h 788"/>
                      <a:gd name="T44" fmla="*/ 19 w 803"/>
                      <a:gd name="T45" fmla="*/ 535 h 788"/>
                      <a:gd name="T46" fmla="*/ 26 w 803"/>
                      <a:gd name="T47" fmla="*/ 588 h 788"/>
                      <a:gd name="T48" fmla="*/ 61 w 803"/>
                      <a:gd name="T49" fmla="*/ 622 h 788"/>
                      <a:gd name="T50" fmla="*/ 114 w 803"/>
                      <a:gd name="T51" fmla="*/ 644 h 788"/>
                      <a:gd name="T52" fmla="*/ 128 w 803"/>
                      <a:gd name="T53" fmla="*/ 758 h 788"/>
                      <a:gd name="T54" fmla="*/ 154 w 803"/>
                      <a:gd name="T55" fmla="*/ 772 h 788"/>
                      <a:gd name="T56" fmla="*/ 200 w 803"/>
                      <a:gd name="T57" fmla="*/ 704 h 788"/>
                      <a:gd name="T58" fmla="*/ 243 w 803"/>
                      <a:gd name="T59" fmla="*/ 661 h 788"/>
                      <a:gd name="T60" fmla="*/ 287 w 803"/>
                      <a:gd name="T61" fmla="*/ 602 h 788"/>
                      <a:gd name="T62" fmla="*/ 337 w 803"/>
                      <a:gd name="T63" fmla="*/ 566 h 788"/>
                      <a:gd name="T64" fmla="*/ 352 w 803"/>
                      <a:gd name="T65" fmla="*/ 587 h 788"/>
                      <a:gd name="T66" fmla="*/ 372 w 803"/>
                      <a:gd name="T67" fmla="*/ 615 h 788"/>
                      <a:gd name="T68" fmla="*/ 404 w 803"/>
                      <a:gd name="T69" fmla="*/ 701 h 788"/>
                      <a:gd name="T70" fmla="*/ 513 w 803"/>
                      <a:gd name="T71" fmla="*/ 693 h 788"/>
                      <a:gd name="T72" fmla="*/ 582 w 803"/>
                      <a:gd name="T73" fmla="*/ 619 h 788"/>
                      <a:gd name="T74" fmla="*/ 606 w 803"/>
                      <a:gd name="T75" fmla="*/ 528 h 788"/>
                      <a:gd name="T76" fmla="*/ 606 w 803"/>
                      <a:gd name="T77" fmla="*/ 503 h 788"/>
                      <a:gd name="T78" fmla="*/ 630 w 803"/>
                      <a:gd name="T79" fmla="*/ 473 h 788"/>
                      <a:gd name="T80" fmla="*/ 647 w 803"/>
                      <a:gd name="T81" fmla="*/ 407 h 788"/>
                      <a:gd name="T82" fmla="*/ 740 w 803"/>
                      <a:gd name="T83" fmla="*/ 343 h 788"/>
                      <a:gd name="T84" fmla="*/ 790 w 803"/>
                      <a:gd name="T85" fmla="*/ 320 h 788"/>
                      <a:gd name="T86" fmla="*/ 787 w 803"/>
                      <a:gd name="T87" fmla="*/ 2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3" h="788">
                        <a:moveTo>
                          <a:pt x="767" y="273"/>
                        </a:moveTo>
                        <a:cubicBezTo>
                          <a:pt x="764" y="273"/>
                          <a:pt x="748" y="271"/>
                          <a:pt x="741" y="270"/>
                        </a:cubicBezTo>
                        <a:cubicBezTo>
                          <a:pt x="733" y="269"/>
                          <a:pt x="722" y="259"/>
                          <a:pt x="711" y="258"/>
                        </a:cubicBezTo>
                        <a:cubicBezTo>
                          <a:pt x="701" y="257"/>
                          <a:pt x="702" y="251"/>
                          <a:pt x="700" y="241"/>
                        </a:cubicBezTo>
                        <a:cubicBezTo>
                          <a:pt x="698" y="231"/>
                          <a:pt x="679" y="230"/>
                          <a:pt x="664" y="229"/>
                        </a:cubicBezTo>
                        <a:cubicBezTo>
                          <a:pt x="649" y="228"/>
                          <a:pt x="635" y="200"/>
                          <a:pt x="635" y="200"/>
                        </a:cubicBezTo>
                        <a:cubicBezTo>
                          <a:pt x="635" y="200"/>
                          <a:pt x="630" y="141"/>
                          <a:pt x="632" y="137"/>
                        </a:cubicBezTo>
                        <a:cubicBezTo>
                          <a:pt x="634" y="133"/>
                          <a:pt x="655" y="115"/>
                          <a:pt x="657" y="114"/>
                        </a:cubicBezTo>
                        <a:cubicBezTo>
                          <a:pt x="659" y="112"/>
                          <a:pt x="675" y="107"/>
                          <a:pt x="680" y="107"/>
                        </a:cubicBezTo>
                        <a:cubicBezTo>
                          <a:pt x="685" y="107"/>
                          <a:pt x="682" y="96"/>
                          <a:pt x="683" y="92"/>
                        </a:cubicBezTo>
                        <a:cubicBezTo>
                          <a:pt x="684" y="87"/>
                          <a:pt x="688" y="84"/>
                          <a:pt x="690" y="76"/>
                        </a:cubicBezTo>
                        <a:cubicBezTo>
                          <a:pt x="692" y="68"/>
                          <a:pt x="665" y="56"/>
                          <a:pt x="652" y="51"/>
                        </a:cubicBezTo>
                        <a:cubicBezTo>
                          <a:pt x="639" y="47"/>
                          <a:pt x="648" y="56"/>
                          <a:pt x="638" y="60"/>
                        </a:cubicBezTo>
                        <a:cubicBezTo>
                          <a:pt x="628" y="64"/>
                          <a:pt x="614" y="64"/>
                          <a:pt x="604" y="64"/>
                        </a:cubicBezTo>
                        <a:cubicBezTo>
                          <a:pt x="594" y="63"/>
                          <a:pt x="592" y="81"/>
                          <a:pt x="582" y="84"/>
                        </a:cubicBezTo>
                        <a:cubicBezTo>
                          <a:pt x="573" y="87"/>
                          <a:pt x="573" y="96"/>
                          <a:pt x="560" y="96"/>
                        </a:cubicBezTo>
                        <a:cubicBezTo>
                          <a:pt x="546" y="96"/>
                          <a:pt x="553" y="73"/>
                          <a:pt x="554" y="62"/>
                        </a:cubicBezTo>
                        <a:cubicBezTo>
                          <a:pt x="555" y="55"/>
                          <a:pt x="562" y="45"/>
                          <a:pt x="569" y="38"/>
                        </a:cubicBezTo>
                        <a:cubicBezTo>
                          <a:pt x="565" y="34"/>
                          <a:pt x="554" y="24"/>
                          <a:pt x="552" y="16"/>
                        </a:cubicBezTo>
                        <a:cubicBezTo>
                          <a:pt x="550" y="7"/>
                          <a:pt x="519" y="2"/>
                          <a:pt x="519" y="1"/>
                        </a:cubicBezTo>
                        <a:cubicBezTo>
                          <a:pt x="519" y="0"/>
                          <a:pt x="505" y="0"/>
                          <a:pt x="482" y="0"/>
                        </a:cubicBezTo>
                        <a:cubicBezTo>
                          <a:pt x="459" y="0"/>
                          <a:pt x="449" y="13"/>
                          <a:pt x="437" y="26"/>
                        </a:cubicBezTo>
                        <a:cubicBezTo>
                          <a:pt x="425" y="38"/>
                          <a:pt x="435" y="63"/>
                          <a:pt x="434" y="66"/>
                        </a:cubicBezTo>
                        <a:cubicBezTo>
                          <a:pt x="433" y="69"/>
                          <a:pt x="428" y="71"/>
                          <a:pt x="426" y="72"/>
                        </a:cubicBezTo>
                        <a:cubicBezTo>
                          <a:pt x="424" y="74"/>
                          <a:pt x="426" y="78"/>
                          <a:pt x="423" y="91"/>
                        </a:cubicBezTo>
                        <a:cubicBezTo>
                          <a:pt x="420" y="104"/>
                          <a:pt x="395" y="113"/>
                          <a:pt x="370" y="113"/>
                        </a:cubicBezTo>
                        <a:cubicBezTo>
                          <a:pt x="345" y="113"/>
                          <a:pt x="299" y="91"/>
                          <a:pt x="298" y="90"/>
                        </a:cubicBezTo>
                        <a:cubicBezTo>
                          <a:pt x="296" y="89"/>
                          <a:pt x="283" y="75"/>
                          <a:pt x="276" y="69"/>
                        </a:cubicBezTo>
                        <a:cubicBezTo>
                          <a:pt x="269" y="64"/>
                          <a:pt x="257" y="33"/>
                          <a:pt x="254" y="31"/>
                        </a:cubicBezTo>
                        <a:cubicBezTo>
                          <a:pt x="251" y="29"/>
                          <a:pt x="223" y="31"/>
                          <a:pt x="222" y="31"/>
                        </a:cubicBezTo>
                        <a:cubicBezTo>
                          <a:pt x="220" y="31"/>
                          <a:pt x="223" y="44"/>
                          <a:pt x="215" y="55"/>
                        </a:cubicBezTo>
                        <a:cubicBezTo>
                          <a:pt x="207" y="66"/>
                          <a:pt x="152" y="49"/>
                          <a:pt x="148" y="48"/>
                        </a:cubicBezTo>
                        <a:cubicBezTo>
                          <a:pt x="146" y="47"/>
                          <a:pt x="142" y="46"/>
                          <a:pt x="138" y="44"/>
                        </a:cubicBezTo>
                        <a:cubicBezTo>
                          <a:pt x="139" y="50"/>
                          <a:pt x="140" y="57"/>
                          <a:pt x="139" y="61"/>
                        </a:cubicBezTo>
                        <a:cubicBezTo>
                          <a:pt x="138" y="68"/>
                          <a:pt x="133" y="75"/>
                          <a:pt x="129" y="87"/>
                        </a:cubicBezTo>
                        <a:cubicBezTo>
                          <a:pt x="125" y="99"/>
                          <a:pt x="115" y="113"/>
                          <a:pt x="108" y="116"/>
                        </a:cubicBezTo>
                        <a:cubicBezTo>
                          <a:pt x="101" y="119"/>
                          <a:pt x="89" y="130"/>
                          <a:pt x="80" y="134"/>
                        </a:cubicBezTo>
                        <a:cubicBezTo>
                          <a:pt x="71" y="138"/>
                          <a:pt x="53" y="158"/>
                          <a:pt x="45" y="164"/>
                        </a:cubicBezTo>
                        <a:cubicBezTo>
                          <a:pt x="38" y="170"/>
                          <a:pt x="27" y="190"/>
                          <a:pt x="20" y="196"/>
                        </a:cubicBezTo>
                        <a:cubicBezTo>
                          <a:pt x="12" y="203"/>
                          <a:pt x="12" y="219"/>
                          <a:pt x="12" y="223"/>
                        </a:cubicBezTo>
                        <a:cubicBezTo>
                          <a:pt x="12" y="226"/>
                          <a:pt x="0" y="243"/>
                          <a:pt x="0" y="243"/>
                        </a:cubicBezTo>
                        <a:cubicBezTo>
                          <a:pt x="0" y="243"/>
                          <a:pt x="6" y="254"/>
                          <a:pt x="6" y="267"/>
                        </a:cubicBezTo>
                        <a:cubicBezTo>
                          <a:pt x="6" y="280"/>
                          <a:pt x="17" y="288"/>
                          <a:pt x="17" y="288"/>
                        </a:cubicBezTo>
                        <a:cubicBezTo>
                          <a:pt x="17" y="288"/>
                          <a:pt x="20" y="343"/>
                          <a:pt x="17" y="349"/>
                        </a:cubicBezTo>
                        <a:cubicBezTo>
                          <a:pt x="14" y="354"/>
                          <a:pt x="12" y="351"/>
                          <a:pt x="8" y="351"/>
                        </a:cubicBezTo>
                        <a:cubicBezTo>
                          <a:pt x="5" y="352"/>
                          <a:pt x="19" y="535"/>
                          <a:pt x="19" y="535"/>
                        </a:cubicBezTo>
                        <a:cubicBezTo>
                          <a:pt x="26" y="549"/>
                          <a:pt x="26" y="549"/>
                          <a:pt x="26" y="549"/>
                        </a:cubicBezTo>
                        <a:cubicBezTo>
                          <a:pt x="26" y="549"/>
                          <a:pt x="27" y="570"/>
                          <a:pt x="26" y="588"/>
                        </a:cubicBezTo>
                        <a:cubicBezTo>
                          <a:pt x="25" y="603"/>
                          <a:pt x="42" y="618"/>
                          <a:pt x="47" y="622"/>
                        </a:cubicBezTo>
                        <a:cubicBezTo>
                          <a:pt x="61" y="622"/>
                          <a:pt x="61" y="622"/>
                          <a:pt x="61" y="622"/>
                        </a:cubicBezTo>
                        <a:cubicBezTo>
                          <a:pt x="61" y="622"/>
                          <a:pt x="86" y="628"/>
                          <a:pt x="91" y="628"/>
                        </a:cubicBezTo>
                        <a:cubicBezTo>
                          <a:pt x="95" y="629"/>
                          <a:pt x="109" y="635"/>
                          <a:pt x="114" y="644"/>
                        </a:cubicBezTo>
                        <a:cubicBezTo>
                          <a:pt x="119" y="652"/>
                          <a:pt x="121" y="673"/>
                          <a:pt x="125" y="694"/>
                        </a:cubicBezTo>
                        <a:cubicBezTo>
                          <a:pt x="130" y="716"/>
                          <a:pt x="129" y="752"/>
                          <a:pt x="128" y="758"/>
                        </a:cubicBezTo>
                        <a:cubicBezTo>
                          <a:pt x="127" y="764"/>
                          <a:pt x="124" y="759"/>
                          <a:pt x="121" y="774"/>
                        </a:cubicBezTo>
                        <a:cubicBezTo>
                          <a:pt x="117" y="788"/>
                          <a:pt x="148" y="770"/>
                          <a:pt x="154" y="772"/>
                        </a:cubicBezTo>
                        <a:cubicBezTo>
                          <a:pt x="159" y="774"/>
                          <a:pt x="163" y="746"/>
                          <a:pt x="163" y="746"/>
                        </a:cubicBezTo>
                        <a:cubicBezTo>
                          <a:pt x="163" y="746"/>
                          <a:pt x="199" y="704"/>
                          <a:pt x="200" y="704"/>
                        </a:cubicBezTo>
                        <a:cubicBezTo>
                          <a:pt x="201" y="703"/>
                          <a:pt x="208" y="703"/>
                          <a:pt x="211" y="703"/>
                        </a:cubicBezTo>
                        <a:cubicBezTo>
                          <a:pt x="214" y="703"/>
                          <a:pt x="238" y="666"/>
                          <a:pt x="243" y="661"/>
                        </a:cubicBezTo>
                        <a:cubicBezTo>
                          <a:pt x="249" y="656"/>
                          <a:pt x="256" y="599"/>
                          <a:pt x="256" y="599"/>
                        </a:cubicBezTo>
                        <a:cubicBezTo>
                          <a:pt x="287" y="602"/>
                          <a:pt x="287" y="602"/>
                          <a:pt x="287" y="602"/>
                        </a:cubicBezTo>
                        <a:cubicBezTo>
                          <a:pt x="287" y="602"/>
                          <a:pt x="302" y="595"/>
                          <a:pt x="310" y="589"/>
                        </a:cubicBezTo>
                        <a:cubicBezTo>
                          <a:pt x="317" y="583"/>
                          <a:pt x="337" y="566"/>
                          <a:pt x="337" y="566"/>
                        </a:cubicBezTo>
                        <a:cubicBezTo>
                          <a:pt x="337" y="566"/>
                          <a:pt x="352" y="566"/>
                          <a:pt x="353" y="566"/>
                        </a:cubicBezTo>
                        <a:cubicBezTo>
                          <a:pt x="354" y="567"/>
                          <a:pt x="352" y="585"/>
                          <a:pt x="352" y="587"/>
                        </a:cubicBezTo>
                        <a:cubicBezTo>
                          <a:pt x="351" y="588"/>
                          <a:pt x="361" y="594"/>
                          <a:pt x="365" y="597"/>
                        </a:cubicBezTo>
                        <a:cubicBezTo>
                          <a:pt x="370" y="600"/>
                          <a:pt x="370" y="604"/>
                          <a:pt x="372" y="615"/>
                        </a:cubicBezTo>
                        <a:cubicBezTo>
                          <a:pt x="374" y="626"/>
                          <a:pt x="394" y="622"/>
                          <a:pt x="397" y="624"/>
                        </a:cubicBezTo>
                        <a:cubicBezTo>
                          <a:pt x="400" y="626"/>
                          <a:pt x="401" y="698"/>
                          <a:pt x="404" y="701"/>
                        </a:cubicBezTo>
                        <a:cubicBezTo>
                          <a:pt x="407" y="704"/>
                          <a:pt x="419" y="715"/>
                          <a:pt x="424" y="720"/>
                        </a:cubicBezTo>
                        <a:cubicBezTo>
                          <a:pt x="429" y="725"/>
                          <a:pt x="508" y="694"/>
                          <a:pt x="513" y="693"/>
                        </a:cubicBezTo>
                        <a:cubicBezTo>
                          <a:pt x="518" y="692"/>
                          <a:pt x="544" y="684"/>
                          <a:pt x="551" y="678"/>
                        </a:cubicBezTo>
                        <a:cubicBezTo>
                          <a:pt x="559" y="671"/>
                          <a:pt x="578" y="623"/>
                          <a:pt x="582" y="619"/>
                        </a:cubicBezTo>
                        <a:cubicBezTo>
                          <a:pt x="586" y="615"/>
                          <a:pt x="590" y="593"/>
                          <a:pt x="603" y="578"/>
                        </a:cubicBezTo>
                        <a:cubicBezTo>
                          <a:pt x="616" y="562"/>
                          <a:pt x="606" y="528"/>
                          <a:pt x="606" y="528"/>
                        </a:cubicBezTo>
                        <a:cubicBezTo>
                          <a:pt x="629" y="506"/>
                          <a:pt x="629" y="506"/>
                          <a:pt x="629" y="506"/>
                        </a:cubicBezTo>
                        <a:cubicBezTo>
                          <a:pt x="606" y="503"/>
                          <a:pt x="606" y="503"/>
                          <a:pt x="606" y="503"/>
                        </a:cubicBezTo>
                        <a:cubicBezTo>
                          <a:pt x="606" y="503"/>
                          <a:pt x="609" y="499"/>
                          <a:pt x="617" y="492"/>
                        </a:cubicBezTo>
                        <a:cubicBezTo>
                          <a:pt x="624" y="484"/>
                          <a:pt x="630" y="473"/>
                          <a:pt x="630" y="473"/>
                        </a:cubicBezTo>
                        <a:cubicBezTo>
                          <a:pt x="630" y="429"/>
                          <a:pt x="630" y="429"/>
                          <a:pt x="630" y="429"/>
                        </a:cubicBezTo>
                        <a:cubicBezTo>
                          <a:pt x="630" y="429"/>
                          <a:pt x="641" y="416"/>
                          <a:pt x="647" y="407"/>
                        </a:cubicBezTo>
                        <a:cubicBezTo>
                          <a:pt x="653" y="397"/>
                          <a:pt x="670" y="375"/>
                          <a:pt x="685" y="363"/>
                        </a:cubicBezTo>
                        <a:cubicBezTo>
                          <a:pt x="700" y="350"/>
                          <a:pt x="739" y="343"/>
                          <a:pt x="740" y="343"/>
                        </a:cubicBezTo>
                        <a:cubicBezTo>
                          <a:pt x="741" y="343"/>
                          <a:pt x="762" y="346"/>
                          <a:pt x="762" y="346"/>
                        </a:cubicBezTo>
                        <a:cubicBezTo>
                          <a:pt x="762" y="346"/>
                          <a:pt x="785" y="325"/>
                          <a:pt x="790" y="320"/>
                        </a:cubicBezTo>
                        <a:cubicBezTo>
                          <a:pt x="792" y="317"/>
                          <a:pt x="798" y="306"/>
                          <a:pt x="803" y="296"/>
                        </a:cubicBezTo>
                        <a:cubicBezTo>
                          <a:pt x="797" y="293"/>
                          <a:pt x="791" y="289"/>
                          <a:pt x="787" y="288"/>
                        </a:cubicBezTo>
                        <a:cubicBezTo>
                          <a:pt x="780" y="286"/>
                          <a:pt x="769" y="273"/>
                          <a:pt x="767" y="273"/>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530">
                    <a:extLst>
                      <a:ext uri="{FF2B5EF4-FFF2-40B4-BE49-F238E27FC236}">
                        <a16:creationId xmlns:a16="http://schemas.microsoft.com/office/drawing/2014/main" id="{0A725B79-D34E-A56E-7C4D-B00D07024AE6}"/>
                      </a:ext>
                    </a:extLst>
                  </p:cNvPr>
                  <p:cNvSpPr>
                    <a:spLocks noChangeAspect="1"/>
                  </p:cNvSpPr>
                  <p:nvPr/>
                </p:nvSpPr>
                <p:spPr bwMode="auto">
                  <a:xfrm>
                    <a:off x="5816356" y="3867103"/>
                    <a:ext cx="309067" cy="341151"/>
                  </a:xfrm>
                  <a:custGeom>
                    <a:avLst/>
                    <a:gdLst>
                      <a:gd name="T0" fmla="*/ 303 w 791"/>
                      <a:gd name="T1" fmla="*/ 870 h 870"/>
                      <a:gd name="T2" fmla="*/ 410 w 791"/>
                      <a:gd name="T3" fmla="*/ 838 h 870"/>
                      <a:gd name="T4" fmla="*/ 517 w 791"/>
                      <a:gd name="T5" fmla="*/ 800 h 870"/>
                      <a:gd name="T6" fmla="*/ 600 w 791"/>
                      <a:gd name="T7" fmla="*/ 746 h 870"/>
                      <a:gd name="T8" fmla="*/ 609 w 791"/>
                      <a:gd name="T9" fmla="*/ 718 h 870"/>
                      <a:gd name="T10" fmla="*/ 646 w 791"/>
                      <a:gd name="T11" fmla="*/ 679 h 870"/>
                      <a:gd name="T12" fmla="*/ 713 w 791"/>
                      <a:gd name="T13" fmla="*/ 578 h 870"/>
                      <a:gd name="T14" fmla="*/ 719 w 791"/>
                      <a:gd name="T15" fmla="*/ 312 h 870"/>
                      <a:gd name="T16" fmla="*/ 737 w 791"/>
                      <a:gd name="T17" fmla="*/ 280 h 870"/>
                      <a:gd name="T18" fmla="*/ 712 w 791"/>
                      <a:gd name="T19" fmla="*/ 136 h 870"/>
                      <a:gd name="T20" fmla="*/ 791 w 791"/>
                      <a:gd name="T21" fmla="*/ 71 h 870"/>
                      <a:gd name="T22" fmla="*/ 765 w 791"/>
                      <a:gd name="T23" fmla="*/ 50 h 870"/>
                      <a:gd name="T24" fmla="*/ 709 w 791"/>
                      <a:gd name="T25" fmla="*/ 3 h 870"/>
                      <a:gd name="T26" fmla="*/ 649 w 791"/>
                      <a:gd name="T27" fmla="*/ 54 h 870"/>
                      <a:gd name="T28" fmla="*/ 600 w 791"/>
                      <a:gd name="T29" fmla="*/ 46 h 870"/>
                      <a:gd name="T30" fmla="*/ 583 w 791"/>
                      <a:gd name="T31" fmla="*/ 57 h 870"/>
                      <a:gd name="T32" fmla="*/ 571 w 791"/>
                      <a:gd name="T33" fmla="*/ 48 h 870"/>
                      <a:gd name="T34" fmla="*/ 527 w 791"/>
                      <a:gd name="T35" fmla="*/ 102 h 870"/>
                      <a:gd name="T36" fmla="*/ 497 w 791"/>
                      <a:gd name="T37" fmla="*/ 140 h 870"/>
                      <a:gd name="T38" fmla="*/ 464 w 791"/>
                      <a:gd name="T39" fmla="*/ 179 h 870"/>
                      <a:gd name="T40" fmla="*/ 430 w 791"/>
                      <a:gd name="T41" fmla="*/ 226 h 870"/>
                      <a:gd name="T42" fmla="*/ 384 w 791"/>
                      <a:gd name="T43" fmla="*/ 277 h 870"/>
                      <a:gd name="T44" fmla="*/ 355 w 791"/>
                      <a:gd name="T45" fmla="*/ 251 h 870"/>
                      <a:gd name="T46" fmla="*/ 323 w 791"/>
                      <a:gd name="T47" fmla="*/ 226 h 870"/>
                      <a:gd name="T48" fmla="*/ 283 w 791"/>
                      <a:gd name="T49" fmla="*/ 194 h 870"/>
                      <a:gd name="T50" fmla="*/ 229 w 791"/>
                      <a:gd name="T51" fmla="*/ 150 h 870"/>
                      <a:gd name="T52" fmla="*/ 119 w 791"/>
                      <a:gd name="T53" fmla="*/ 139 h 870"/>
                      <a:gd name="T54" fmla="*/ 30 w 791"/>
                      <a:gd name="T55" fmla="*/ 152 h 870"/>
                      <a:gd name="T56" fmla="*/ 0 w 791"/>
                      <a:gd name="T57" fmla="*/ 864 h 870"/>
                      <a:gd name="T58" fmla="*/ 67 w 791"/>
                      <a:gd name="T59" fmla="*/ 866 h 870"/>
                      <a:gd name="T60" fmla="*/ 217 w 791"/>
                      <a:gd name="T61" fmla="*/ 868 h 870"/>
                      <a:gd name="T62" fmla="*/ 303 w 791"/>
                      <a:gd name="T63" fmla="*/ 87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1" h="870">
                        <a:moveTo>
                          <a:pt x="303" y="870"/>
                        </a:moveTo>
                        <a:cubicBezTo>
                          <a:pt x="303" y="870"/>
                          <a:pt x="389" y="843"/>
                          <a:pt x="410" y="838"/>
                        </a:cubicBezTo>
                        <a:cubicBezTo>
                          <a:pt x="431" y="834"/>
                          <a:pt x="499" y="817"/>
                          <a:pt x="517" y="800"/>
                        </a:cubicBezTo>
                        <a:cubicBezTo>
                          <a:pt x="535" y="784"/>
                          <a:pt x="600" y="746"/>
                          <a:pt x="600" y="746"/>
                        </a:cubicBezTo>
                        <a:cubicBezTo>
                          <a:pt x="600" y="746"/>
                          <a:pt x="607" y="730"/>
                          <a:pt x="609" y="718"/>
                        </a:cubicBezTo>
                        <a:cubicBezTo>
                          <a:pt x="612" y="706"/>
                          <a:pt x="623" y="698"/>
                          <a:pt x="646" y="679"/>
                        </a:cubicBezTo>
                        <a:cubicBezTo>
                          <a:pt x="669" y="660"/>
                          <a:pt x="713" y="578"/>
                          <a:pt x="713" y="578"/>
                        </a:cubicBezTo>
                        <a:cubicBezTo>
                          <a:pt x="713" y="578"/>
                          <a:pt x="719" y="315"/>
                          <a:pt x="719" y="312"/>
                        </a:cubicBezTo>
                        <a:cubicBezTo>
                          <a:pt x="720" y="310"/>
                          <a:pt x="737" y="280"/>
                          <a:pt x="737" y="280"/>
                        </a:cubicBezTo>
                        <a:cubicBezTo>
                          <a:pt x="712" y="136"/>
                          <a:pt x="712" y="136"/>
                          <a:pt x="712" y="136"/>
                        </a:cubicBezTo>
                        <a:cubicBezTo>
                          <a:pt x="791" y="71"/>
                          <a:pt x="791" y="71"/>
                          <a:pt x="791" y="71"/>
                        </a:cubicBezTo>
                        <a:cubicBezTo>
                          <a:pt x="791" y="71"/>
                          <a:pt x="779" y="62"/>
                          <a:pt x="765" y="50"/>
                        </a:cubicBezTo>
                        <a:cubicBezTo>
                          <a:pt x="742" y="31"/>
                          <a:pt x="711" y="5"/>
                          <a:pt x="709" y="3"/>
                        </a:cubicBezTo>
                        <a:cubicBezTo>
                          <a:pt x="705" y="0"/>
                          <a:pt x="653" y="52"/>
                          <a:pt x="649" y="54"/>
                        </a:cubicBezTo>
                        <a:cubicBezTo>
                          <a:pt x="645" y="55"/>
                          <a:pt x="609" y="46"/>
                          <a:pt x="600" y="46"/>
                        </a:cubicBezTo>
                        <a:cubicBezTo>
                          <a:pt x="591" y="45"/>
                          <a:pt x="583" y="57"/>
                          <a:pt x="583" y="57"/>
                        </a:cubicBezTo>
                        <a:cubicBezTo>
                          <a:pt x="583" y="57"/>
                          <a:pt x="578" y="52"/>
                          <a:pt x="571" y="48"/>
                        </a:cubicBezTo>
                        <a:cubicBezTo>
                          <a:pt x="555" y="65"/>
                          <a:pt x="535" y="88"/>
                          <a:pt x="527" y="102"/>
                        </a:cubicBezTo>
                        <a:cubicBezTo>
                          <a:pt x="511" y="126"/>
                          <a:pt x="502" y="126"/>
                          <a:pt x="497" y="140"/>
                        </a:cubicBezTo>
                        <a:cubicBezTo>
                          <a:pt x="491" y="154"/>
                          <a:pt x="468" y="168"/>
                          <a:pt x="464" y="179"/>
                        </a:cubicBezTo>
                        <a:cubicBezTo>
                          <a:pt x="460" y="190"/>
                          <a:pt x="440" y="208"/>
                          <a:pt x="430" y="226"/>
                        </a:cubicBezTo>
                        <a:cubicBezTo>
                          <a:pt x="420" y="244"/>
                          <a:pt x="384" y="277"/>
                          <a:pt x="384" y="277"/>
                        </a:cubicBezTo>
                        <a:cubicBezTo>
                          <a:pt x="384" y="277"/>
                          <a:pt x="366" y="257"/>
                          <a:pt x="355" y="251"/>
                        </a:cubicBezTo>
                        <a:cubicBezTo>
                          <a:pt x="343" y="245"/>
                          <a:pt x="341" y="227"/>
                          <a:pt x="323" y="226"/>
                        </a:cubicBezTo>
                        <a:cubicBezTo>
                          <a:pt x="306" y="226"/>
                          <a:pt x="298" y="203"/>
                          <a:pt x="283" y="194"/>
                        </a:cubicBezTo>
                        <a:cubicBezTo>
                          <a:pt x="267" y="184"/>
                          <a:pt x="229" y="150"/>
                          <a:pt x="229" y="150"/>
                        </a:cubicBezTo>
                        <a:cubicBezTo>
                          <a:pt x="229" y="150"/>
                          <a:pt x="135" y="144"/>
                          <a:pt x="119" y="139"/>
                        </a:cubicBezTo>
                        <a:cubicBezTo>
                          <a:pt x="104" y="134"/>
                          <a:pt x="30" y="152"/>
                          <a:pt x="30" y="152"/>
                        </a:cubicBezTo>
                        <a:cubicBezTo>
                          <a:pt x="0" y="864"/>
                          <a:pt x="0" y="864"/>
                          <a:pt x="0" y="864"/>
                        </a:cubicBezTo>
                        <a:cubicBezTo>
                          <a:pt x="67" y="866"/>
                          <a:pt x="67" y="866"/>
                          <a:pt x="67" y="866"/>
                        </a:cubicBezTo>
                        <a:cubicBezTo>
                          <a:pt x="217" y="868"/>
                          <a:pt x="217" y="868"/>
                          <a:pt x="217" y="868"/>
                        </a:cubicBezTo>
                        <a:lnTo>
                          <a:pt x="303" y="870"/>
                        </a:ln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531">
                    <a:extLst>
                      <a:ext uri="{FF2B5EF4-FFF2-40B4-BE49-F238E27FC236}">
                        <a16:creationId xmlns:a16="http://schemas.microsoft.com/office/drawing/2014/main" id="{488F79FB-D5F5-82BE-CCDA-F8AC48D049C0}"/>
                      </a:ext>
                    </a:extLst>
                  </p:cNvPr>
                  <p:cNvSpPr>
                    <a:spLocks noChangeAspect="1"/>
                  </p:cNvSpPr>
                  <p:nvPr/>
                </p:nvSpPr>
                <p:spPr bwMode="auto">
                  <a:xfrm>
                    <a:off x="5583957" y="3127342"/>
                    <a:ext cx="934388" cy="886994"/>
                  </a:xfrm>
                  <a:custGeom>
                    <a:avLst/>
                    <a:gdLst>
                      <a:gd name="T0" fmla="*/ 1362 w 2391"/>
                      <a:gd name="T1" fmla="*/ 1948 h 2275"/>
                      <a:gd name="T2" fmla="*/ 1434 w 2391"/>
                      <a:gd name="T3" fmla="*/ 1928 h 2275"/>
                      <a:gd name="T4" fmla="*/ 1538 w 2391"/>
                      <a:gd name="T5" fmla="*/ 1994 h 2275"/>
                      <a:gd name="T6" fmla="*/ 1683 w 2391"/>
                      <a:gd name="T7" fmla="*/ 1910 h 2275"/>
                      <a:gd name="T8" fmla="*/ 1766 w 2391"/>
                      <a:gd name="T9" fmla="*/ 2076 h 2275"/>
                      <a:gd name="T10" fmla="*/ 1804 w 2391"/>
                      <a:gd name="T11" fmla="*/ 2263 h 2275"/>
                      <a:gd name="T12" fmla="*/ 1908 w 2391"/>
                      <a:gd name="T13" fmla="*/ 2162 h 2275"/>
                      <a:gd name="T14" fmla="*/ 2032 w 2391"/>
                      <a:gd name="T15" fmla="*/ 2163 h 2275"/>
                      <a:gd name="T16" fmla="*/ 2172 w 2391"/>
                      <a:gd name="T17" fmla="*/ 2264 h 2275"/>
                      <a:gd name="T18" fmla="*/ 2262 w 2391"/>
                      <a:gd name="T19" fmla="*/ 2148 h 2275"/>
                      <a:gd name="T20" fmla="*/ 2316 w 2391"/>
                      <a:gd name="T21" fmla="*/ 1957 h 2275"/>
                      <a:gd name="T22" fmla="*/ 2197 w 2391"/>
                      <a:gd name="T23" fmla="*/ 1828 h 2275"/>
                      <a:gd name="T24" fmla="*/ 2255 w 2391"/>
                      <a:gd name="T25" fmla="*/ 1476 h 2275"/>
                      <a:gd name="T26" fmla="*/ 2294 w 2391"/>
                      <a:gd name="T27" fmla="*/ 1213 h 2275"/>
                      <a:gd name="T28" fmla="*/ 2391 w 2391"/>
                      <a:gd name="T29" fmla="*/ 1020 h 2275"/>
                      <a:gd name="T30" fmla="*/ 2365 w 2391"/>
                      <a:gd name="T31" fmla="*/ 863 h 2275"/>
                      <a:gd name="T32" fmla="*/ 2271 w 2391"/>
                      <a:gd name="T33" fmla="*/ 828 h 2275"/>
                      <a:gd name="T34" fmla="*/ 2152 w 2391"/>
                      <a:gd name="T35" fmla="*/ 748 h 2275"/>
                      <a:gd name="T36" fmla="*/ 2211 w 2391"/>
                      <a:gd name="T37" fmla="*/ 427 h 2275"/>
                      <a:gd name="T38" fmla="*/ 2060 w 2391"/>
                      <a:gd name="T39" fmla="*/ 290 h 2275"/>
                      <a:gd name="T40" fmla="*/ 1824 w 2391"/>
                      <a:gd name="T41" fmla="*/ 155 h 2275"/>
                      <a:gd name="T42" fmla="*/ 1799 w 2391"/>
                      <a:gd name="T43" fmla="*/ 2 h 2275"/>
                      <a:gd name="T44" fmla="*/ 1594 w 2391"/>
                      <a:gd name="T45" fmla="*/ 102 h 2275"/>
                      <a:gd name="T46" fmla="*/ 1418 w 2391"/>
                      <a:gd name="T47" fmla="*/ 229 h 2275"/>
                      <a:gd name="T48" fmla="*/ 1330 w 2391"/>
                      <a:gd name="T49" fmla="*/ 202 h 2275"/>
                      <a:gd name="T50" fmla="*/ 1165 w 2391"/>
                      <a:gd name="T51" fmla="*/ 118 h 2275"/>
                      <a:gd name="T52" fmla="*/ 964 w 2391"/>
                      <a:gd name="T53" fmla="*/ 326 h 2275"/>
                      <a:gd name="T54" fmla="*/ 781 w 2391"/>
                      <a:gd name="T55" fmla="*/ 254 h 2275"/>
                      <a:gd name="T56" fmla="*/ 721 w 2391"/>
                      <a:gd name="T57" fmla="*/ 125 h 2275"/>
                      <a:gd name="T58" fmla="*/ 642 w 2391"/>
                      <a:gd name="T59" fmla="*/ 194 h 2275"/>
                      <a:gd name="T60" fmla="*/ 562 w 2391"/>
                      <a:gd name="T61" fmla="*/ 322 h 2275"/>
                      <a:gd name="T62" fmla="*/ 486 w 2391"/>
                      <a:gd name="T63" fmla="*/ 414 h 2275"/>
                      <a:gd name="T64" fmla="*/ 264 w 2391"/>
                      <a:gd name="T65" fmla="*/ 424 h 2275"/>
                      <a:gd name="T66" fmla="*/ 136 w 2391"/>
                      <a:gd name="T67" fmla="*/ 508 h 2275"/>
                      <a:gd name="T68" fmla="*/ 31 w 2391"/>
                      <a:gd name="T69" fmla="*/ 636 h 2275"/>
                      <a:gd name="T70" fmla="*/ 38 w 2391"/>
                      <a:gd name="T71" fmla="*/ 844 h 2275"/>
                      <a:gd name="T72" fmla="*/ 52 w 2391"/>
                      <a:gd name="T73" fmla="*/ 1018 h 2275"/>
                      <a:gd name="T74" fmla="*/ 236 w 2391"/>
                      <a:gd name="T75" fmla="*/ 894 h 2275"/>
                      <a:gd name="T76" fmla="*/ 394 w 2391"/>
                      <a:gd name="T77" fmla="*/ 869 h 2275"/>
                      <a:gd name="T78" fmla="*/ 547 w 2391"/>
                      <a:gd name="T79" fmla="*/ 792 h 2275"/>
                      <a:gd name="T80" fmla="*/ 679 w 2391"/>
                      <a:gd name="T81" fmla="*/ 878 h 2275"/>
                      <a:gd name="T82" fmla="*/ 818 w 2391"/>
                      <a:gd name="T83" fmla="*/ 1034 h 2275"/>
                      <a:gd name="T84" fmla="*/ 776 w 2391"/>
                      <a:gd name="T85" fmla="*/ 1170 h 2275"/>
                      <a:gd name="T86" fmla="*/ 781 w 2391"/>
                      <a:gd name="T87" fmla="*/ 1314 h 2275"/>
                      <a:gd name="T88" fmla="*/ 1058 w 2391"/>
                      <a:gd name="T89" fmla="*/ 1359 h 2275"/>
                      <a:gd name="T90" fmla="*/ 992 w 2391"/>
                      <a:gd name="T91" fmla="*/ 1576 h 2275"/>
                      <a:gd name="T92" fmla="*/ 1113 w 2391"/>
                      <a:gd name="T93" fmla="*/ 1685 h 2275"/>
                      <a:gd name="T94" fmla="*/ 1036 w 2391"/>
                      <a:gd name="T95" fmla="*/ 1882 h 2275"/>
                      <a:gd name="T96" fmla="*/ 1062 w 2391"/>
                      <a:gd name="T97" fmla="*/ 1974 h 2275"/>
                      <a:gd name="T98" fmla="*/ 1180 w 2391"/>
                      <a:gd name="T99" fmla="*/ 1955 h 2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91" h="2275">
                        <a:moveTo>
                          <a:pt x="1197" y="1944"/>
                        </a:moveTo>
                        <a:cubicBezTo>
                          <a:pt x="1206" y="1944"/>
                          <a:pt x="1242" y="1953"/>
                          <a:pt x="1246" y="1952"/>
                        </a:cubicBezTo>
                        <a:cubicBezTo>
                          <a:pt x="1250" y="1950"/>
                          <a:pt x="1302" y="1898"/>
                          <a:pt x="1306" y="1901"/>
                        </a:cubicBezTo>
                        <a:cubicBezTo>
                          <a:pt x="1308" y="1903"/>
                          <a:pt x="1339" y="1929"/>
                          <a:pt x="1362" y="1948"/>
                        </a:cubicBezTo>
                        <a:cubicBezTo>
                          <a:pt x="1362" y="1948"/>
                          <a:pt x="1362" y="1948"/>
                          <a:pt x="1362" y="1948"/>
                        </a:cubicBezTo>
                        <a:cubicBezTo>
                          <a:pt x="1398" y="1948"/>
                          <a:pt x="1398" y="1948"/>
                          <a:pt x="1398" y="1948"/>
                        </a:cubicBezTo>
                        <a:cubicBezTo>
                          <a:pt x="1404" y="1931"/>
                          <a:pt x="1404" y="1931"/>
                          <a:pt x="1404" y="1931"/>
                        </a:cubicBezTo>
                        <a:cubicBezTo>
                          <a:pt x="1404" y="1931"/>
                          <a:pt x="1425" y="1928"/>
                          <a:pt x="1434" y="1928"/>
                        </a:cubicBezTo>
                        <a:cubicBezTo>
                          <a:pt x="1444" y="1928"/>
                          <a:pt x="1441" y="1953"/>
                          <a:pt x="1441" y="1956"/>
                        </a:cubicBezTo>
                        <a:cubicBezTo>
                          <a:pt x="1441" y="1960"/>
                          <a:pt x="1445" y="1968"/>
                          <a:pt x="1450" y="1975"/>
                        </a:cubicBezTo>
                        <a:cubicBezTo>
                          <a:pt x="1454" y="1982"/>
                          <a:pt x="1462" y="1968"/>
                          <a:pt x="1474" y="1957"/>
                        </a:cubicBezTo>
                        <a:cubicBezTo>
                          <a:pt x="1487" y="1946"/>
                          <a:pt x="1532" y="1994"/>
                          <a:pt x="1538" y="1994"/>
                        </a:cubicBezTo>
                        <a:cubicBezTo>
                          <a:pt x="1544" y="1995"/>
                          <a:pt x="1572" y="1979"/>
                          <a:pt x="1590" y="1959"/>
                        </a:cubicBezTo>
                        <a:cubicBezTo>
                          <a:pt x="1609" y="1939"/>
                          <a:pt x="1604" y="1928"/>
                          <a:pt x="1604" y="1928"/>
                        </a:cubicBezTo>
                        <a:cubicBezTo>
                          <a:pt x="1604" y="1928"/>
                          <a:pt x="1637" y="1913"/>
                          <a:pt x="1640" y="1910"/>
                        </a:cubicBezTo>
                        <a:cubicBezTo>
                          <a:pt x="1644" y="1906"/>
                          <a:pt x="1678" y="1909"/>
                          <a:pt x="1683" y="1910"/>
                        </a:cubicBezTo>
                        <a:cubicBezTo>
                          <a:pt x="1688" y="1912"/>
                          <a:pt x="1697" y="1936"/>
                          <a:pt x="1699" y="1944"/>
                        </a:cubicBezTo>
                        <a:cubicBezTo>
                          <a:pt x="1701" y="1951"/>
                          <a:pt x="1716" y="1962"/>
                          <a:pt x="1718" y="1974"/>
                        </a:cubicBezTo>
                        <a:cubicBezTo>
                          <a:pt x="1719" y="1985"/>
                          <a:pt x="1736" y="2006"/>
                          <a:pt x="1736" y="2020"/>
                        </a:cubicBezTo>
                        <a:cubicBezTo>
                          <a:pt x="1737" y="2034"/>
                          <a:pt x="1760" y="2068"/>
                          <a:pt x="1766" y="2076"/>
                        </a:cubicBezTo>
                        <a:cubicBezTo>
                          <a:pt x="1772" y="2085"/>
                          <a:pt x="1782" y="2076"/>
                          <a:pt x="1788" y="2086"/>
                        </a:cubicBezTo>
                        <a:cubicBezTo>
                          <a:pt x="1794" y="2095"/>
                          <a:pt x="1804" y="2144"/>
                          <a:pt x="1804" y="2161"/>
                        </a:cubicBezTo>
                        <a:cubicBezTo>
                          <a:pt x="1804" y="2178"/>
                          <a:pt x="1797" y="2184"/>
                          <a:pt x="1796" y="2206"/>
                        </a:cubicBezTo>
                        <a:cubicBezTo>
                          <a:pt x="1794" y="2228"/>
                          <a:pt x="1802" y="2251"/>
                          <a:pt x="1804" y="2263"/>
                        </a:cubicBezTo>
                        <a:cubicBezTo>
                          <a:pt x="1805" y="2275"/>
                          <a:pt x="1814" y="2264"/>
                          <a:pt x="1817" y="2262"/>
                        </a:cubicBezTo>
                        <a:cubicBezTo>
                          <a:pt x="1820" y="2261"/>
                          <a:pt x="1838" y="2239"/>
                          <a:pt x="1852" y="2227"/>
                        </a:cubicBezTo>
                        <a:cubicBezTo>
                          <a:pt x="1867" y="2215"/>
                          <a:pt x="1859" y="2216"/>
                          <a:pt x="1875" y="2206"/>
                        </a:cubicBezTo>
                        <a:cubicBezTo>
                          <a:pt x="1891" y="2196"/>
                          <a:pt x="1907" y="2165"/>
                          <a:pt x="1908" y="2162"/>
                        </a:cubicBezTo>
                        <a:cubicBezTo>
                          <a:pt x="1908" y="2160"/>
                          <a:pt x="1917" y="2150"/>
                          <a:pt x="1927" y="2150"/>
                        </a:cubicBezTo>
                        <a:cubicBezTo>
                          <a:pt x="1937" y="2150"/>
                          <a:pt x="1956" y="2138"/>
                          <a:pt x="1956" y="2138"/>
                        </a:cubicBezTo>
                        <a:cubicBezTo>
                          <a:pt x="1956" y="2138"/>
                          <a:pt x="2024" y="2148"/>
                          <a:pt x="2026" y="2148"/>
                        </a:cubicBezTo>
                        <a:cubicBezTo>
                          <a:pt x="2029" y="2148"/>
                          <a:pt x="2030" y="2157"/>
                          <a:pt x="2032" y="2163"/>
                        </a:cubicBezTo>
                        <a:cubicBezTo>
                          <a:pt x="2034" y="2169"/>
                          <a:pt x="2056" y="2191"/>
                          <a:pt x="2062" y="2195"/>
                        </a:cubicBezTo>
                        <a:cubicBezTo>
                          <a:pt x="2068" y="2199"/>
                          <a:pt x="2074" y="2212"/>
                          <a:pt x="2077" y="2225"/>
                        </a:cubicBezTo>
                        <a:cubicBezTo>
                          <a:pt x="2080" y="2238"/>
                          <a:pt x="2115" y="2262"/>
                          <a:pt x="2115" y="2262"/>
                        </a:cubicBezTo>
                        <a:cubicBezTo>
                          <a:pt x="2115" y="2262"/>
                          <a:pt x="2164" y="2264"/>
                          <a:pt x="2172" y="2264"/>
                        </a:cubicBezTo>
                        <a:cubicBezTo>
                          <a:pt x="2179" y="2264"/>
                          <a:pt x="2198" y="2242"/>
                          <a:pt x="2206" y="2236"/>
                        </a:cubicBezTo>
                        <a:cubicBezTo>
                          <a:pt x="2214" y="2230"/>
                          <a:pt x="2220" y="2237"/>
                          <a:pt x="2237" y="2230"/>
                        </a:cubicBezTo>
                        <a:cubicBezTo>
                          <a:pt x="2254" y="2224"/>
                          <a:pt x="2242" y="2178"/>
                          <a:pt x="2244" y="2174"/>
                        </a:cubicBezTo>
                        <a:cubicBezTo>
                          <a:pt x="2245" y="2171"/>
                          <a:pt x="2260" y="2150"/>
                          <a:pt x="2262" y="2148"/>
                        </a:cubicBezTo>
                        <a:cubicBezTo>
                          <a:pt x="2265" y="2145"/>
                          <a:pt x="2273" y="2122"/>
                          <a:pt x="2279" y="2101"/>
                        </a:cubicBezTo>
                        <a:cubicBezTo>
                          <a:pt x="2281" y="2093"/>
                          <a:pt x="2289" y="2075"/>
                          <a:pt x="2298" y="2055"/>
                        </a:cubicBezTo>
                        <a:cubicBezTo>
                          <a:pt x="2312" y="2022"/>
                          <a:pt x="2330" y="1984"/>
                          <a:pt x="2332" y="1976"/>
                        </a:cubicBezTo>
                        <a:cubicBezTo>
                          <a:pt x="2336" y="1962"/>
                          <a:pt x="2331" y="1961"/>
                          <a:pt x="2316" y="1957"/>
                        </a:cubicBezTo>
                        <a:cubicBezTo>
                          <a:pt x="2302" y="1953"/>
                          <a:pt x="2292" y="1928"/>
                          <a:pt x="2284" y="1922"/>
                        </a:cubicBezTo>
                        <a:cubicBezTo>
                          <a:pt x="2276" y="1915"/>
                          <a:pt x="2250" y="1898"/>
                          <a:pt x="2248" y="1892"/>
                        </a:cubicBezTo>
                        <a:cubicBezTo>
                          <a:pt x="2247" y="1885"/>
                          <a:pt x="2242" y="1878"/>
                          <a:pt x="2233" y="1880"/>
                        </a:cubicBezTo>
                        <a:cubicBezTo>
                          <a:pt x="2224" y="1881"/>
                          <a:pt x="2197" y="1828"/>
                          <a:pt x="2197" y="1828"/>
                        </a:cubicBezTo>
                        <a:cubicBezTo>
                          <a:pt x="2197" y="1828"/>
                          <a:pt x="2193" y="1758"/>
                          <a:pt x="2194" y="1755"/>
                        </a:cubicBezTo>
                        <a:cubicBezTo>
                          <a:pt x="2194" y="1752"/>
                          <a:pt x="2223" y="1700"/>
                          <a:pt x="2235" y="1680"/>
                        </a:cubicBezTo>
                        <a:cubicBezTo>
                          <a:pt x="2247" y="1661"/>
                          <a:pt x="2256" y="1641"/>
                          <a:pt x="2256" y="1641"/>
                        </a:cubicBezTo>
                        <a:cubicBezTo>
                          <a:pt x="2255" y="1476"/>
                          <a:pt x="2255" y="1476"/>
                          <a:pt x="2255" y="1476"/>
                        </a:cubicBezTo>
                        <a:cubicBezTo>
                          <a:pt x="2255" y="1476"/>
                          <a:pt x="2298" y="1364"/>
                          <a:pt x="2298" y="1361"/>
                        </a:cubicBezTo>
                        <a:cubicBezTo>
                          <a:pt x="2298" y="1358"/>
                          <a:pt x="2306" y="1322"/>
                          <a:pt x="2308" y="1312"/>
                        </a:cubicBezTo>
                        <a:cubicBezTo>
                          <a:pt x="2310" y="1302"/>
                          <a:pt x="2299" y="1284"/>
                          <a:pt x="2299" y="1280"/>
                        </a:cubicBezTo>
                        <a:cubicBezTo>
                          <a:pt x="2299" y="1276"/>
                          <a:pt x="2294" y="1213"/>
                          <a:pt x="2294" y="1213"/>
                        </a:cubicBezTo>
                        <a:cubicBezTo>
                          <a:pt x="2294" y="1213"/>
                          <a:pt x="2322" y="1188"/>
                          <a:pt x="2330" y="1180"/>
                        </a:cubicBezTo>
                        <a:cubicBezTo>
                          <a:pt x="2338" y="1171"/>
                          <a:pt x="2366" y="1149"/>
                          <a:pt x="2369" y="1146"/>
                        </a:cubicBezTo>
                        <a:cubicBezTo>
                          <a:pt x="2372" y="1142"/>
                          <a:pt x="2386" y="1120"/>
                          <a:pt x="2388" y="1114"/>
                        </a:cubicBezTo>
                        <a:cubicBezTo>
                          <a:pt x="2390" y="1111"/>
                          <a:pt x="2391" y="1052"/>
                          <a:pt x="2391" y="1020"/>
                        </a:cubicBezTo>
                        <a:cubicBezTo>
                          <a:pt x="2382" y="1018"/>
                          <a:pt x="2370" y="1013"/>
                          <a:pt x="2362" y="996"/>
                        </a:cubicBezTo>
                        <a:cubicBezTo>
                          <a:pt x="2351" y="970"/>
                          <a:pt x="2340" y="950"/>
                          <a:pt x="2342" y="937"/>
                        </a:cubicBezTo>
                        <a:cubicBezTo>
                          <a:pt x="2344" y="924"/>
                          <a:pt x="2365" y="875"/>
                          <a:pt x="2364" y="870"/>
                        </a:cubicBezTo>
                        <a:cubicBezTo>
                          <a:pt x="2364" y="869"/>
                          <a:pt x="2364" y="866"/>
                          <a:pt x="2365" y="863"/>
                        </a:cubicBezTo>
                        <a:cubicBezTo>
                          <a:pt x="2359" y="860"/>
                          <a:pt x="2353" y="857"/>
                          <a:pt x="2347" y="862"/>
                        </a:cubicBezTo>
                        <a:cubicBezTo>
                          <a:pt x="2338" y="870"/>
                          <a:pt x="2327" y="874"/>
                          <a:pt x="2325" y="873"/>
                        </a:cubicBezTo>
                        <a:cubicBezTo>
                          <a:pt x="2323" y="872"/>
                          <a:pt x="2312" y="866"/>
                          <a:pt x="2304" y="862"/>
                        </a:cubicBezTo>
                        <a:cubicBezTo>
                          <a:pt x="2295" y="859"/>
                          <a:pt x="2276" y="839"/>
                          <a:pt x="2271" y="828"/>
                        </a:cubicBezTo>
                        <a:cubicBezTo>
                          <a:pt x="2266" y="818"/>
                          <a:pt x="2236" y="784"/>
                          <a:pt x="2236" y="784"/>
                        </a:cubicBezTo>
                        <a:cubicBezTo>
                          <a:pt x="2236" y="784"/>
                          <a:pt x="2208" y="793"/>
                          <a:pt x="2196" y="786"/>
                        </a:cubicBezTo>
                        <a:cubicBezTo>
                          <a:pt x="2184" y="778"/>
                          <a:pt x="2168" y="778"/>
                          <a:pt x="2162" y="776"/>
                        </a:cubicBezTo>
                        <a:cubicBezTo>
                          <a:pt x="2157" y="774"/>
                          <a:pt x="2140" y="766"/>
                          <a:pt x="2152" y="748"/>
                        </a:cubicBezTo>
                        <a:cubicBezTo>
                          <a:pt x="2164" y="730"/>
                          <a:pt x="2212" y="728"/>
                          <a:pt x="2215" y="718"/>
                        </a:cubicBezTo>
                        <a:cubicBezTo>
                          <a:pt x="2218" y="708"/>
                          <a:pt x="2188" y="646"/>
                          <a:pt x="2192" y="636"/>
                        </a:cubicBezTo>
                        <a:cubicBezTo>
                          <a:pt x="2196" y="626"/>
                          <a:pt x="2184" y="522"/>
                          <a:pt x="2196" y="503"/>
                        </a:cubicBezTo>
                        <a:cubicBezTo>
                          <a:pt x="2209" y="484"/>
                          <a:pt x="2216" y="434"/>
                          <a:pt x="2211" y="427"/>
                        </a:cubicBezTo>
                        <a:cubicBezTo>
                          <a:pt x="2206" y="420"/>
                          <a:pt x="2202" y="422"/>
                          <a:pt x="2194" y="405"/>
                        </a:cubicBezTo>
                        <a:cubicBezTo>
                          <a:pt x="2185" y="388"/>
                          <a:pt x="2192" y="392"/>
                          <a:pt x="2177" y="376"/>
                        </a:cubicBezTo>
                        <a:cubicBezTo>
                          <a:pt x="2162" y="360"/>
                          <a:pt x="2144" y="330"/>
                          <a:pt x="2120" y="318"/>
                        </a:cubicBezTo>
                        <a:cubicBezTo>
                          <a:pt x="2096" y="305"/>
                          <a:pt x="2080" y="298"/>
                          <a:pt x="2060" y="290"/>
                        </a:cubicBezTo>
                        <a:cubicBezTo>
                          <a:pt x="2040" y="281"/>
                          <a:pt x="1965" y="269"/>
                          <a:pt x="1965" y="269"/>
                        </a:cubicBezTo>
                        <a:cubicBezTo>
                          <a:pt x="1965" y="269"/>
                          <a:pt x="1932" y="258"/>
                          <a:pt x="1932" y="231"/>
                        </a:cubicBezTo>
                        <a:cubicBezTo>
                          <a:pt x="1933" y="204"/>
                          <a:pt x="1937" y="196"/>
                          <a:pt x="1924" y="188"/>
                        </a:cubicBezTo>
                        <a:cubicBezTo>
                          <a:pt x="1912" y="180"/>
                          <a:pt x="1830" y="180"/>
                          <a:pt x="1824" y="155"/>
                        </a:cubicBezTo>
                        <a:cubicBezTo>
                          <a:pt x="1818" y="130"/>
                          <a:pt x="1811" y="113"/>
                          <a:pt x="1811" y="106"/>
                        </a:cubicBezTo>
                        <a:cubicBezTo>
                          <a:pt x="1811" y="100"/>
                          <a:pt x="1820" y="95"/>
                          <a:pt x="1820" y="90"/>
                        </a:cubicBezTo>
                        <a:cubicBezTo>
                          <a:pt x="1819" y="84"/>
                          <a:pt x="1836" y="54"/>
                          <a:pt x="1828" y="40"/>
                        </a:cubicBezTo>
                        <a:cubicBezTo>
                          <a:pt x="1819" y="27"/>
                          <a:pt x="1801" y="3"/>
                          <a:pt x="1799" y="2"/>
                        </a:cubicBezTo>
                        <a:cubicBezTo>
                          <a:pt x="1797" y="0"/>
                          <a:pt x="1750" y="15"/>
                          <a:pt x="1738" y="20"/>
                        </a:cubicBezTo>
                        <a:cubicBezTo>
                          <a:pt x="1725" y="24"/>
                          <a:pt x="1706" y="33"/>
                          <a:pt x="1706" y="33"/>
                        </a:cubicBezTo>
                        <a:cubicBezTo>
                          <a:pt x="1706" y="33"/>
                          <a:pt x="1656" y="41"/>
                          <a:pt x="1632" y="62"/>
                        </a:cubicBezTo>
                        <a:cubicBezTo>
                          <a:pt x="1608" y="84"/>
                          <a:pt x="1610" y="93"/>
                          <a:pt x="1594" y="102"/>
                        </a:cubicBezTo>
                        <a:cubicBezTo>
                          <a:pt x="1578" y="112"/>
                          <a:pt x="1546" y="132"/>
                          <a:pt x="1527" y="151"/>
                        </a:cubicBezTo>
                        <a:cubicBezTo>
                          <a:pt x="1527" y="151"/>
                          <a:pt x="1527" y="151"/>
                          <a:pt x="1527" y="151"/>
                        </a:cubicBezTo>
                        <a:cubicBezTo>
                          <a:pt x="1508" y="170"/>
                          <a:pt x="1460" y="199"/>
                          <a:pt x="1452" y="204"/>
                        </a:cubicBezTo>
                        <a:cubicBezTo>
                          <a:pt x="1445" y="208"/>
                          <a:pt x="1423" y="226"/>
                          <a:pt x="1418" y="229"/>
                        </a:cubicBezTo>
                        <a:cubicBezTo>
                          <a:pt x="1414" y="232"/>
                          <a:pt x="1411" y="254"/>
                          <a:pt x="1400" y="254"/>
                        </a:cubicBezTo>
                        <a:cubicBezTo>
                          <a:pt x="1388" y="254"/>
                          <a:pt x="1382" y="288"/>
                          <a:pt x="1363" y="283"/>
                        </a:cubicBezTo>
                        <a:cubicBezTo>
                          <a:pt x="1344" y="278"/>
                          <a:pt x="1318" y="278"/>
                          <a:pt x="1326" y="268"/>
                        </a:cubicBezTo>
                        <a:cubicBezTo>
                          <a:pt x="1333" y="258"/>
                          <a:pt x="1335" y="204"/>
                          <a:pt x="1330" y="202"/>
                        </a:cubicBezTo>
                        <a:cubicBezTo>
                          <a:pt x="1324" y="199"/>
                          <a:pt x="1321" y="215"/>
                          <a:pt x="1312" y="194"/>
                        </a:cubicBezTo>
                        <a:cubicBezTo>
                          <a:pt x="1302" y="172"/>
                          <a:pt x="1301" y="174"/>
                          <a:pt x="1284" y="167"/>
                        </a:cubicBezTo>
                        <a:cubicBezTo>
                          <a:pt x="1266" y="160"/>
                          <a:pt x="1229" y="117"/>
                          <a:pt x="1226" y="117"/>
                        </a:cubicBezTo>
                        <a:cubicBezTo>
                          <a:pt x="1222" y="117"/>
                          <a:pt x="1165" y="118"/>
                          <a:pt x="1165" y="118"/>
                        </a:cubicBezTo>
                        <a:cubicBezTo>
                          <a:pt x="1165" y="118"/>
                          <a:pt x="1127" y="128"/>
                          <a:pt x="1121" y="144"/>
                        </a:cubicBezTo>
                        <a:cubicBezTo>
                          <a:pt x="1115" y="160"/>
                          <a:pt x="1122" y="197"/>
                          <a:pt x="1106" y="205"/>
                        </a:cubicBezTo>
                        <a:cubicBezTo>
                          <a:pt x="1090" y="213"/>
                          <a:pt x="976" y="210"/>
                          <a:pt x="972" y="211"/>
                        </a:cubicBezTo>
                        <a:cubicBezTo>
                          <a:pt x="969" y="212"/>
                          <a:pt x="968" y="323"/>
                          <a:pt x="964" y="326"/>
                        </a:cubicBezTo>
                        <a:cubicBezTo>
                          <a:pt x="960" y="328"/>
                          <a:pt x="937" y="352"/>
                          <a:pt x="920" y="342"/>
                        </a:cubicBezTo>
                        <a:cubicBezTo>
                          <a:pt x="904" y="332"/>
                          <a:pt x="904" y="319"/>
                          <a:pt x="888" y="309"/>
                        </a:cubicBezTo>
                        <a:cubicBezTo>
                          <a:pt x="873" y="299"/>
                          <a:pt x="849" y="284"/>
                          <a:pt x="832" y="278"/>
                        </a:cubicBezTo>
                        <a:cubicBezTo>
                          <a:pt x="816" y="271"/>
                          <a:pt x="781" y="274"/>
                          <a:pt x="781" y="254"/>
                        </a:cubicBezTo>
                        <a:cubicBezTo>
                          <a:pt x="781" y="234"/>
                          <a:pt x="772" y="215"/>
                          <a:pt x="779" y="210"/>
                        </a:cubicBezTo>
                        <a:cubicBezTo>
                          <a:pt x="786" y="204"/>
                          <a:pt x="812" y="196"/>
                          <a:pt x="803" y="171"/>
                        </a:cubicBezTo>
                        <a:cubicBezTo>
                          <a:pt x="794" y="146"/>
                          <a:pt x="780" y="132"/>
                          <a:pt x="776" y="132"/>
                        </a:cubicBezTo>
                        <a:cubicBezTo>
                          <a:pt x="774" y="132"/>
                          <a:pt x="743" y="130"/>
                          <a:pt x="721" y="125"/>
                        </a:cubicBezTo>
                        <a:cubicBezTo>
                          <a:pt x="717" y="132"/>
                          <a:pt x="712" y="140"/>
                          <a:pt x="708" y="144"/>
                        </a:cubicBezTo>
                        <a:cubicBezTo>
                          <a:pt x="700" y="156"/>
                          <a:pt x="688" y="149"/>
                          <a:pt x="683" y="152"/>
                        </a:cubicBezTo>
                        <a:cubicBezTo>
                          <a:pt x="678" y="156"/>
                          <a:pt x="674" y="176"/>
                          <a:pt x="674" y="176"/>
                        </a:cubicBezTo>
                        <a:cubicBezTo>
                          <a:pt x="674" y="176"/>
                          <a:pt x="652" y="186"/>
                          <a:pt x="642" y="194"/>
                        </a:cubicBezTo>
                        <a:cubicBezTo>
                          <a:pt x="631" y="201"/>
                          <a:pt x="618" y="204"/>
                          <a:pt x="602" y="212"/>
                        </a:cubicBezTo>
                        <a:cubicBezTo>
                          <a:pt x="586" y="219"/>
                          <a:pt x="582" y="240"/>
                          <a:pt x="576" y="256"/>
                        </a:cubicBezTo>
                        <a:cubicBezTo>
                          <a:pt x="570" y="271"/>
                          <a:pt x="571" y="317"/>
                          <a:pt x="571" y="317"/>
                        </a:cubicBezTo>
                        <a:cubicBezTo>
                          <a:pt x="571" y="317"/>
                          <a:pt x="571" y="317"/>
                          <a:pt x="562" y="322"/>
                        </a:cubicBezTo>
                        <a:cubicBezTo>
                          <a:pt x="554" y="326"/>
                          <a:pt x="564" y="348"/>
                          <a:pt x="559" y="360"/>
                        </a:cubicBezTo>
                        <a:cubicBezTo>
                          <a:pt x="554" y="373"/>
                          <a:pt x="516" y="392"/>
                          <a:pt x="502" y="398"/>
                        </a:cubicBezTo>
                        <a:cubicBezTo>
                          <a:pt x="489" y="404"/>
                          <a:pt x="504" y="414"/>
                          <a:pt x="503" y="419"/>
                        </a:cubicBezTo>
                        <a:cubicBezTo>
                          <a:pt x="502" y="424"/>
                          <a:pt x="492" y="414"/>
                          <a:pt x="486" y="414"/>
                        </a:cubicBezTo>
                        <a:cubicBezTo>
                          <a:pt x="481" y="414"/>
                          <a:pt x="475" y="424"/>
                          <a:pt x="463" y="430"/>
                        </a:cubicBezTo>
                        <a:cubicBezTo>
                          <a:pt x="451" y="436"/>
                          <a:pt x="412" y="441"/>
                          <a:pt x="409" y="447"/>
                        </a:cubicBezTo>
                        <a:cubicBezTo>
                          <a:pt x="406" y="453"/>
                          <a:pt x="360" y="446"/>
                          <a:pt x="336" y="444"/>
                        </a:cubicBezTo>
                        <a:cubicBezTo>
                          <a:pt x="311" y="442"/>
                          <a:pt x="264" y="424"/>
                          <a:pt x="264" y="424"/>
                        </a:cubicBezTo>
                        <a:cubicBezTo>
                          <a:pt x="264" y="424"/>
                          <a:pt x="261" y="430"/>
                          <a:pt x="257" y="434"/>
                        </a:cubicBezTo>
                        <a:cubicBezTo>
                          <a:pt x="253" y="438"/>
                          <a:pt x="227" y="445"/>
                          <a:pt x="205" y="455"/>
                        </a:cubicBezTo>
                        <a:cubicBezTo>
                          <a:pt x="183" y="465"/>
                          <a:pt x="181" y="476"/>
                          <a:pt x="176" y="481"/>
                        </a:cubicBezTo>
                        <a:cubicBezTo>
                          <a:pt x="172" y="486"/>
                          <a:pt x="150" y="499"/>
                          <a:pt x="136" y="508"/>
                        </a:cubicBezTo>
                        <a:cubicBezTo>
                          <a:pt x="122" y="516"/>
                          <a:pt x="135" y="536"/>
                          <a:pt x="135" y="538"/>
                        </a:cubicBezTo>
                        <a:cubicBezTo>
                          <a:pt x="135" y="540"/>
                          <a:pt x="117" y="571"/>
                          <a:pt x="117" y="571"/>
                        </a:cubicBezTo>
                        <a:cubicBezTo>
                          <a:pt x="117" y="571"/>
                          <a:pt x="72" y="571"/>
                          <a:pt x="63" y="570"/>
                        </a:cubicBezTo>
                        <a:cubicBezTo>
                          <a:pt x="51" y="589"/>
                          <a:pt x="35" y="618"/>
                          <a:pt x="31" y="636"/>
                        </a:cubicBezTo>
                        <a:cubicBezTo>
                          <a:pt x="25" y="664"/>
                          <a:pt x="0" y="714"/>
                          <a:pt x="5" y="721"/>
                        </a:cubicBezTo>
                        <a:cubicBezTo>
                          <a:pt x="10" y="728"/>
                          <a:pt x="42" y="758"/>
                          <a:pt x="42" y="764"/>
                        </a:cubicBezTo>
                        <a:cubicBezTo>
                          <a:pt x="42" y="771"/>
                          <a:pt x="23" y="795"/>
                          <a:pt x="26" y="812"/>
                        </a:cubicBezTo>
                        <a:cubicBezTo>
                          <a:pt x="28" y="828"/>
                          <a:pt x="42" y="841"/>
                          <a:pt x="38" y="844"/>
                        </a:cubicBezTo>
                        <a:cubicBezTo>
                          <a:pt x="34" y="848"/>
                          <a:pt x="7" y="894"/>
                          <a:pt x="7" y="894"/>
                        </a:cubicBezTo>
                        <a:cubicBezTo>
                          <a:pt x="2" y="952"/>
                          <a:pt x="2" y="952"/>
                          <a:pt x="2" y="952"/>
                        </a:cubicBezTo>
                        <a:cubicBezTo>
                          <a:pt x="2" y="952"/>
                          <a:pt x="37" y="952"/>
                          <a:pt x="42" y="968"/>
                        </a:cubicBezTo>
                        <a:cubicBezTo>
                          <a:pt x="48" y="985"/>
                          <a:pt x="42" y="1017"/>
                          <a:pt x="52" y="1018"/>
                        </a:cubicBezTo>
                        <a:cubicBezTo>
                          <a:pt x="62" y="1018"/>
                          <a:pt x="86" y="1044"/>
                          <a:pt x="106" y="1020"/>
                        </a:cubicBezTo>
                        <a:cubicBezTo>
                          <a:pt x="126" y="997"/>
                          <a:pt x="142" y="974"/>
                          <a:pt x="154" y="960"/>
                        </a:cubicBezTo>
                        <a:cubicBezTo>
                          <a:pt x="166" y="946"/>
                          <a:pt x="191" y="898"/>
                          <a:pt x="207" y="898"/>
                        </a:cubicBezTo>
                        <a:cubicBezTo>
                          <a:pt x="223" y="898"/>
                          <a:pt x="234" y="898"/>
                          <a:pt x="236" y="894"/>
                        </a:cubicBezTo>
                        <a:cubicBezTo>
                          <a:pt x="238" y="890"/>
                          <a:pt x="281" y="848"/>
                          <a:pt x="288" y="842"/>
                        </a:cubicBezTo>
                        <a:cubicBezTo>
                          <a:pt x="294" y="837"/>
                          <a:pt x="336" y="797"/>
                          <a:pt x="350" y="808"/>
                        </a:cubicBezTo>
                        <a:cubicBezTo>
                          <a:pt x="365" y="818"/>
                          <a:pt x="376" y="830"/>
                          <a:pt x="377" y="837"/>
                        </a:cubicBezTo>
                        <a:cubicBezTo>
                          <a:pt x="378" y="844"/>
                          <a:pt x="385" y="869"/>
                          <a:pt x="394" y="869"/>
                        </a:cubicBezTo>
                        <a:cubicBezTo>
                          <a:pt x="402" y="869"/>
                          <a:pt x="422" y="859"/>
                          <a:pt x="452" y="854"/>
                        </a:cubicBezTo>
                        <a:cubicBezTo>
                          <a:pt x="482" y="850"/>
                          <a:pt x="568" y="837"/>
                          <a:pt x="568" y="835"/>
                        </a:cubicBezTo>
                        <a:cubicBezTo>
                          <a:pt x="568" y="833"/>
                          <a:pt x="573" y="820"/>
                          <a:pt x="568" y="817"/>
                        </a:cubicBezTo>
                        <a:cubicBezTo>
                          <a:pt x="562" y="814"/>
                          <a:pt x="540" y="796"/>
                          <a:pt x="547" y="792"/>
                        </a:cubicBezTo>
                        <a:cubicBezTo>
                          <a:pt x="554" y="788"/>
                          <a:pt x="602" y="766"/>
                          <a:pt x="622" y="778"/>
                        </a:cubicBezTo>
                        <a:cubicBezTo>
                          <a:pt x="641" y="791"/>
                          <a:pt x="697" y="807"/>
                          <a:pt x="679" y="825"/>
                        </a:cubicBezTo>
                        <a:cubicBezTo>
                          <a:pt x="661" y="843"/>
                          <a:pt x="649" y="860"/>
                          <a:pt x="653" y="864"/>
                        </a:cubicBezTo>
                        <a:cubicBezTo>
                          <a:pt x="657" y="868"/>
                          <a:pt x="679" y="878"/>
                          <a:pt x="679" y="878"/>
                        </a:cubicBezTo>
                        <a:cubicBezTo>
                          <a:pt x="679" y="878"/>
                          <a:pt x="743" y="870"/>
                          <a:pt x="747" y="894"/>
                        </a:cubicBezTo>
                        <a:cubicBezTo>
                          <a:pt x="751" y="919"/>
                          <a:pt x="750" y="956"/>
                          <a:pt x="749" y="965"/>
                        </a:cubicBezTo>
                        <a:cubicBezTo>
                          <a:pt x="748" y="974"/>
                          <a:pt x="719" y="996"/>
                          <a:pt x="735" y="1016"/>
                        </a:cubicBezTo>
                        <a:cubicBezTo>
                          <a:pt x="751" y="1036"/>
                          <a:pt x="804" y="1016"/>
                          <a:pt x="818" y="1034"/>
                        </a:cubicBezTo>
                        <a:cubicBezTo>
                          <a:pt x="833" y="1052"/>
                          <a:pt x="852" y="1066"/>
                          <a:pt x="849" y="1074"/>
                        </a:cubicBezTo>
                        <a:cubicBezTo>
                          <a:pt x="846" y="1082"/>
                          <a:pt x="841" y="1100"/>
                          <a:pt x="830" y="1117"/>
                        </a:cubicBezTo>
                        <a:cubicBezTo>
                          <a:pt x="820" y="1134"/>
                          <a:pt x="812" y="1143"/>
                          <a:pt x="799" y="1146"/>
                        </a:cubicBezTo>
                        <a:cubicBezTo>
                          <a:pt x="786" y="1150"/>
                          <a:pt x="780" y="1164"/>
                          <a:pt x="776" y="1170"/>
                        </a:cubicBezTo>
                        <a:cubicBezTo>
                          <a:pt x="773" y="1175"/>
                          <a:pt x="741" y="1209"/>
                          <a:pt x="728" y="1218"/>
                        </a:cubicBezTo>
                        <a:cubicBezTo>
                          <a:pt x="716" y="1228"/>
                          <a:pt x="710" y="1238"/>
                          <a:pt x="710" y="1238"/>
                        </a:cubicBezTo>
                        <a:cubicBezTo>
                          <a:pt x="710" y="1238"/>
                          <a:pt x="711" y="1255"/>
                          <a:pt x="715" y="1268"/>
                        </a:cubicBezTo>
                        <a:cubicBezTo>
                          <a:pt x="719" y="1280"/>
                          <a:pt x="763" y="1312"/>
                          <a:pt x="781" y="1314"/>
                        </a:cubicBezTo>
                        <a:cubicBezTo>
                          <a:pt x="799" y="1317"/>
                          <a:pt x="841" y="1312"/>
                          <a:pt x="848" y="1317"/>
                        </a:cubicBezTo>
                        <a:cubicBezTo>
                          <a:pt x="854" y="1322"/>
                          <a:pt x="909" y="1342"/>
                          <a:pt x="926" y="1342"/>
                        </a:cubicBezTo>
                        <a:cubicBezTo>
                          <a:pt x="944" y="1343"/>
                          <a:pt x="1004" y="1298"/>
                          <a:pt x="1027" y="1321"/>
                        </a:cubicBezTo>
                        <a:cubicBezTo>
                          <a:pt x="1050" y="1344"/>
                          <a:pt x="1056" y="1354"/>
                          <a:pt x="1058" y="1359"/>
                        </a:cubicBezTo>
                        <a:cubicBezTo>
                          <a:pt x="1059" y="1364"/>
                          <a:pt x="1052" y="1408"/>
                          <a:pt x="1052" y="1408"/>
                        </a:cubicBezTo>
                        <a:cubicBezTo>
                          <a:pt x="1052" y="1408"/>
                          <a:pt x="1072" y="1492"/>
                          <a:pt x="1066" y="1506"/>
                        </a:cubicBezTo>
                        <a:cubicBezTo>
                          <a:pt x="1060" y="1520"/>
                          <a:pt x="1056" y="1529"/>
                          <a:pt x="1049" y="1537"/>
                        </a:cubicBezTo>
                        <a:cubicBezTo>
                          <a:pt x="1042" y="1545"/>
                          <a:pt x="992" y="1576"/>
                          <a:pt x="992" y="1576"/>
                        </a:cubicBezTo>
                        <a:cubicBezTo>
                          <a:pt x="1013" y="1609"/>
                          <a:pt x="1013" y="1609"/>
                          <a:pt x="1013" y="1609"/>
                        </a:cubicBezTo>
                        <a:cubicBezTo>
                          <a:pt x="1013" y="1609"/>
                          <a:pt x="1056" y="1610"/>
                          <a:pt x="1056" y="1620"/>
                        </a:cubicBezTo>
                        <a:cubicBezTo>
                          <a:pt x="1055" y="1630"/>
                          <a:pt x="1042" y="1647"/>
                          <a:pt x="1043" y="1650"/>
                        </a:cubicBezTo>
                        <a:cubicBezTo>
                          <a:pt x="1044" y="1652"/>
                          <a:pt x="1113" y="1685"/>
                          <a:pt x="1113" y="1685"/>
                        </a:cubicBezTo>
                        <a:cubicBezTo>
                          <a:pt x="1113" y="1685"/>
                          <a:pt x="1064" y="1759"/>
                          <a:pt x="1047" y="1781"/>
                        </a:cubicBezTo>
                        <a:cubicBezTo>
                          <a:pt x="1030" y="1803"/>
                          <a:pt x="982" y="1830"/>
                          <a:pt x="990" y="1846"/>
                        </a:cubicBezTo>
                        <a:cubicBezTo>
                          <a:pt x="998" y="1862"/>
                          <a:pt x="1008" y="1901"/>
                          <a:pt x="1016" y="1895"/>
                        </a:cubicBezTo>
                        <a:cubicBezTo>
                          <a:pt x="1025" y="1889"/>
                          <a:pt x="1027" y="1878"/>
                          <a:pt x="1036" y="1882"/>
                        </a:cubicBezTo>
                        <a:cubicBezTo>
                          <a:pt x="1044" y="1886"/>
                          <a:pt x="1056" y="1896"/>
                          <a:pt x="1056" y="1903"/>
                        </a:cubicBezTo>
                        <a:cubicBezTo>
                          <a:pt x="1056" y="1910"/>
                          <a:pt x="1040" y="1922"/>
                          <a:pt x="1036" y="1934"/>
                        </a:cubicBezTo>
                        <a:cubicBezTo>
                          <a:pt x="1033" y="1945"/>
                          <a:pt x="1020" y="1950"/>
                          <a:pt x="1020" y="1954"/>
                        </a:cubicBezTo>
                        <a:cubicBezTo>
                          <a:pt x="1020" y="1958"/>
                          <a:pt x="1043" y="1983"/>
                          <a:pt x="1062" y="1974"/>
                        </a:cubicBezTo>
                        <a:cubicBezTo>
                          <a:pt x="1080" y="1964"/>
                          <a:pt x="1082" y="1952"/>
                          <a:pt x="1094" y="1951"/>
                        </a:cubicBezTo>
                        <a:cubicBezTo>
                          <a:pt x="1107" y="1950"/>
                          <a:pt x="1142" y="1939"/>
                          <a:pt x="1154" y="1940"/>
                        </a:cubicBezTo>
                        <a:cubicBezTo>
                          <a:pt x="1159" y="1941"/>
                          <a:pt x="1164" y="1943"/>
                          <a:pt x="1168" y="1946"/>
                        </a:cubicBezTo>
                        <a:cubicBezTo>
                          <a:pt x="1175" y="1950"/>
                          <a:pt x="1180" y="1955"/>
                          <a:pt x="1180" y="1955"/>
                        </a:cubicBezTo>
                        <a:cubicBezTo>
                          <a:pt x="1180" y="1955"/>
                          <a:pt x="1188" y="1943"/>
                          <a:pt x="1197" y="1944"/>
                        </a:cubicBezTo>
                        <a:close/>
                      </a:path>
                    </a:pathLst>
                  </a:custGeom>
                  <a:solidFill>
                    <a:srgbClr val="FF00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532">
                    <a:extLst>
                      <a:ext uri="{FF2B5EF4-FFF2-40B4-BE49-F238E27FC236}">
                        <a16:creationId xmlns:a16="http://schemas.microsoft.com/office/drawing/2014/main" id="{1DDC44A3-7142-E58B-337B-F211043A3D35}"/>
                      </a:ext>
                    </a:extLst>
                  </p:cNvPr>
                  <p:cNvSpPr>
                    <a:spLocks noChangeAspect="1"/>
                  </p:cNvSpPr>
                  <p:nvPr/>
                </p:nvSpPr>
                <p:spPr bwMode="auto">
                  <a:xfrm>
                    <a:off x="6125423" y="2739716"/>
                    <a:ext cx="598966" cy="727790"/>
                  </a:xfrm>
                  <a:custGeom>
                    <a:avLst/>
                    <a:gdLst>
                      <a:gd name="T0" fmla="*/ 353 w 1535"/>
                      <a:gd name="T1" fmla="*/ 1007 h 1861"/>
                      <a:gd name="T2" fmla="*/ 435 w 1535"/>
                      <a:gd name="T3" fmla="*/ 1077 h 1861"/>
                      <a:gd name="T4" fmla="*/ 539 w 1535"/>
                      <a:gd name="T5" fmla="*/ 1175 h 1861"/>
                      <a:gd name="T6" fmla="*/ 675 w 1535"/>
                      <a:gd name="T7" fmla="*/ 1277 h 1861"/>
                      <a:gd name="T8" fmla="*/ 809 w 1535"/>
                      <a:gd name="T9" fmla="*/ 1392 h 1861"/>
                      <a:gd name="T10" fmla="*/ 807 w 1535"/>
                      <a:gd name="T11" fmla="*/ 1623 h 1861"/>
                      <a:gd name="T12" fmla="*/ 777 w 1535"/>
                      <a:gd name="T13" fmla="*/ 1763 h 1861"/>
                      <a:gd name="T14" fmla="*/ 886 w 1535"/>
                      <a:gd name="T15" fmla="*/ 1815 h 1861"/>
                      <a:gd name="T16" fmla="*/ 962 w 1535"/>
                      <a:gd name="T17" fmla="*/ 1849 h 1861"/>
                      <a:gd name="T18" fmla="*/ 999 w 1535"/>
                      <a:gd name="T19" fmla="*/ 1829 h 1861"/>
                      <a:gd name="T20" fmla="*/ 1035 w 1535"/>
                      <a:gd name="T21" fmla="*/ 1656 h 1861"/>
                      <a:gd name="T22" fmla="*/ 984 w 1535"/>
                      <a:gd name="T23" fmla="*/ 1519 h 1861"/>
                      <a:gd name="T24" fmla="*/ 1017 w 1535"/>
                      <a:gd name="T25" fmla="*/ 1363 h 1861"/>
                      <a:gd name="T26" fmla="*/ 1110 w 1535"/>
                      <a:gd name="T27" fmla="*/ 1335 h 1861"/>
                      <a:gd name="T28" fmla="*/ 1187 w 1535"/>
                      <a:gd name="T29" fmla="*/ 1229 h 1861"/>
                      <a:gd name="T30" fmla="*/ 1340 w 1535"/>
                      <a:gd name="T31" fmla="*/ 1166 h 1861"/>
                      <a:gd name="T32" fmla="*/ 1412 w 1535"/>
                      <a:gd name="T33" fmla="*/ 1132 h 1861"/>
                      <a:gd name="T34" fmla="*/ 1427 w 1535"/>
                      <a:gd name="T35" fmla="*/ 1049 h 1861"/>
                      <a:gd name="T36" fmla="*/ 1515 w 1535"/>
                      <a:gd name="T37" fmla="*/ 983 h 1861"/>
                      <a:gd name="T38" fmla="*/ 1477 w 1535"/>
                      <a:gd name="T39" fmla="*/ 911 h 1861"/>
                      <a:gd name="T40" fmla="*/ 1426 w 1535"/>
                      <a:gd name="T41" fmla="*/ 790 h 1861"/>
                      <a:gd name="T42" fmla="*/ 1341 w 1535"/>
                      <a:gd name="T43" fmla="*/ 730 h 1861"/>
                      <a:gd name="T44" fmla="*/ 1393 w 1535"/>
                      <a:gd name="T45" fmla="*/ 524 h 1861"/>
                      <a:gd name="T46" fmla="*/ 1326 w 1535"/>
                      <a:gd name="T47" fmla="*/ 528 h 1861"/>
                      <a:gd name="T48" fmla="*/ 1238 w 1535"/>
                      <a:gd name="T49" fmla="*/ 467 h 1861"/>
                      <a:gd name="T50" fmla="*/ 1150 w 1535"/>
                      <a:gd name="T51" fmla="*/ 412 h 1861"/>
                      <a:gd name="T52" fmla="*/ 1036 w 1535"/>
                      <a:gd name="T53" fmla="*/ 291 h 1861"/>
                      <a:gd name="T54" fmla="*/ 991 w 1535"/>
                      <a:gd name="T55" fmla="*/ 162 h 1861"/>
                      <a:gd name="T56" fmla="*/ 934 w 1535"/>
                      <a:gd name="T57" fmla="*/ 52 h 1861"/>
                      <a:gd name="T58" fmla="*/ 811 w 1535"/>
                      <a:gd name="T59" fmla="*/ 3 h 1861"/>
                      <a:gd name="T60" fmla="*/ 661 w 1535"/>
                      <a:gd name="T61" fmla="*/ 71 h 1861"/>
                      <a:gd name="T62" fmla="*/ 607 w 1535"/>
                      <a:gd name="T63" fmla="*/ 106 h 1861"/>
                      <a:gd name="T64" fmla="*/ 542 w 1535"/>
                      <a:gd name="T65" fmla="*/ 23 h 1861"/>
                      <a:gd name="T66" fmla="*/ 450 w 1535"/>
                      <a:gd name="T67" fmla="*/ 128 h 1861"/>
                      <a:gd name="T68" fmla="*/ 307 w 1535"/>
                      <a:gd name="T69" fmla="*/ 232 h 1861"/>
                      <a:gd name="T70" fmla="*/ 124 w 1535"/>
                      <a:gd name="T71" fmla="*/ 329 h 1861"/>
                      <a:gd name="T72" fmla="*/ 135 w 1535"/>
                      <a:gd name="T73" fmla="*/ 636 h 1861"/>
                      <a:gd name="T74" fmla="*/ 179 w 1535"/>
                      <a:gd name="T75" fmla="*/ 773 h 1861"/>
                      <a:gd name="T76" fmla="*/ 120 w 1535"/>
                      <a:gd name="T77" fmla="*/ 909 h 1861"/>
                      <a:gd name="T78" fmla="*/ 0 w 1535"/>
                      <a:gd name="T79" fmla="*/ 997 h 1861"/>
                      <a:gd name="T80" fmla="*/ 52 w 1535"/>
                      <a:gd name="T81" fmla="*/ 1086 h 1861"/>
                      <a:gd name="T82" fmla="*/ 142 w 1535"/>
                      <a:gd name="T83" fmla="*/ 113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35" h="1861">
                        <a:moveTo>
                          <a:pt x="247" y="1049"/>
                        </a:moveTo>
                        <a:cubicBezTo>
                          <a:pt x="271" y="1028"/>
                          <a:pt x="321" y="1020"/>
                          <a:pt x="321" y="1020"/>
                        </a:cubicBezTo>
                        <a:cubicBezTo>
                          <a:pt x="321" y="1020"/>
                          <a:pt x="340" y="1011"/>
                          <a:pt x="353" y="1007"/>
                        </a:cubicBezTo>
                        <a:cubicBezTo>
                          <a:pt x="365" y="1002"/>
                          <a:pt x="412" y="987"/>
                          <a:pt x="414" y="989"/>
                        </a:cubicBezTo>
                        <a:cubicBezTo>
                          <a:pt x="416" y="990"/>
                          <a:pt x="434" y="1014"/>
                          <a:pt x="443" y="1027"/>
                        </a:cubicBezTo>
                        <a:cubicBezTo>
                          <a:pt x="451" y="1041"/>
                          <a:pt x="434" y="1071"/>
                          <a:pt x="435" y="1077"/>
                        </a:cubicBezTo>
                        <a:cubicBezTo>
                          <a:pt x="435" y="1082"/>
                          <a:pt x="426" y="1087"/>
                          <a:pt x="426" y="1093"/>
                        </a:cubicBezTo>
                        <a:cubicBezTo>
                          <a:pt x="426" y="1100"/>
                          <a:pt x="433" y="1117"/>
                          <a:pt x="439" y="1142"/>
                        </a:cubicBezTo>
                        <a:cubicBezTo>
                          <a:pt x="445" y="1167"/>
                          <a:pt x="527" y="1167"/>
                          <a:pt x="539" y="1175"/>
                        </a:cubicBezTo>
                        <a:cubicBezTo>
                          <a:pt x="552" y="1183"/>
                          <a:pt x="548" y="1191"/>
                          <a:pt x="547" y="1218"/>
                        </a:cubicBezTo>
                        <a:cubicBezTo>
                          <a:pt x="547" y="1245"/>
                          <a:pt x="580" y="1256"/>
                          <a:pt x="580" y="1256"/>
                        </a:cubicBezTo>
                        <a:cubicBezTo>
                          <a:pt x="580" y="1256"/>
                          <a:pt x="655" y="1268"/>
                          <a:pt x="675" y="1277"/>
                        </a:cubicBezTo>
                        <a:cubicBezTo>
                          <a:pt x="695" y="1285"/>
                          <a:pt x="711" y="1292"/>
                          <a:pt x="735" y="1305"/>
                        </a:cubicBezTo>
                        <a:cubicBezTo>
                          <a:pt x="759" y="1317"/>
                          <a:pt x="777" y="1347"/>
                          <a:pt x="792" y="1363"/>
                        </a:cubicBezTo>
                        <a:cubicBezTo>
                          <a:pt x="807" y="1379"/>
                          <a:pt x="800" y="1375"/>
                          <a:pt x="809" y="1392"/>
                        </a:cubicBezTo>
                        <a:cubicBezTo>
                          <a:pt x="817" y="1409"/>
                          <a:pt x="821" y="1407"/>
                          <a:pt x="826" y="1414"/>
                        </a:cubicBezTo>
                        <a:cubicBezTo>
                          <a:pt x="831" y="1421"/>
                          <a:pt x="824" y="1471"/>
                          <a:pt x="811" y="1490"/>
                        </a:cubicBezTo>
                        <a:cubicBezTo>
                          <a:pt x="799" y="1509"/>
                          <a:pt x="811" y="1613"/>
                          <a:pt x="807" y="1623"/>
                        </a:cubicBezTo>
                        <a:cubicBezTo>
                          <a:pt x="803" y="1633"/>
                          <a:pt x="833" y="1695"/>
                          <a:pt x="830" y="1705"/>
                        </a:cubicBezTo>
                        <a:cubicBezTo>
                          <a:pt x="827" y="1715"/>
                          <a:pt x="779" y="1717"/>
                          <a:pt x="767" y="1735"/>
                        </a:cubicBezTo>
                        <a:cubicBezTo>
                          <a:pt x="755" y="1753"/>
                          <a:pt x="772" y="1761"/>
                          <a:pt x="777" y="1763"/>
                        </a:cubicBezTo>
                        <a:cubicBezTo>
                          <a:pt x="783" y="1765"/>
                          <a:pt x="799" y="1765"/>
                          <a:pt x="811" y="1773"/>
                        </a:cubicBezTo>
                        <a:cubicBezTo>
                          <a:pt x="823" y="1780"/>
                          <a:pt x="851" y="1771"/>
                          <a:pt x="851" y="1771"/>
                        </a:cubicBezTo>
                        <a:cubicBezTo>
                          <a:pt x="851" y="1771"/>
                          <a:pt x="881" y="1805"/>
                          <a:pt x="886" y="1815"/>
                        </a:cubicBezTo>
                        <a:cubicBezTo>
                          <a:pt x="891" y="1826"/>
                          <a:pt x="910" y="1846"/>
                          <a:pt x="919" y="1849"/>
                        </a:cubicBezTo>
                        <a:cubicBezTo>
                          <a:pt x="927" y="1853"/>
                          <a:pt x="938" y="1859"/>
                          <a:pt x="940" y="1860"/>
                        </a:cubicBezTo>
                        <a:cubicBezTo>
                          <a:pt x="942" y="1861"/>
                          <a:pt x="953" y="1857"/>
                          <a:pt x="962" y="1849"/>
                        </a:cubicBezTo>
                        <a:cubicBezTo>
                          <a:pt x="968" y="1844"/>
                          <a:pt x="974" y="1847"/>
                          <a:pt x="980" y="1850"/>
                        </a:cubicBezTo>
                        <a:cubicBezTo>
                          <a:pt x="983" y="1851"/>
                          <a:pt x="986" y="1851"/>
                          <a:pt x="989" y="1851"/>
                        </a:cubicBezTo>
                        <a:cubicBezTo>
                          <a:pt x="997" y="1849"/>
                          <a:pt x="999" y="1840"/>
                          <a:pt x="999" y="1829"/>
                        </a:cubicBezTo>
                        <a:cubicBezTo>
                          <a:pt x="999" y="1817"/>
                          <a:pt x="1045" y="1773"/>
                          <a:pt x="1045" y="1773"/>
                        </a:cubicBezTo>
                        <a:cubicBezTo>
                          <a:pt x="1045" y="1773"/>
                          <a:pt x="1048" y="1665"/>
                          <a:pt x="1048" y="1661"/>
                        </a:cubicBezTo>
                        <a:cubicBezTo>
                          <a:pt x="1048" y="1657"/>
                          <a:pt x="1042" y="1656"/>
                          <a:pt x="1035" y="1656"/>
                        </a:cubicBezTo>
                        <a:cubicBezTo>
                          <a:pt x="1029" y="1656"/>
                          <a:pt x="1018" y="1622"/>
                          <a:pt x="1001" y="1618"/>
                        </a:cubicBezTo>
                        <a:cubicBezTo>
                          <a:pt x="985" y="1614"/>
                          <a:pt x="999" y="1601"/>
                          <a:pt x="997" y="1584"/>
                        </a:cubicBezTo>
                        <a:cubicBezTo>
                          <a:pt x="994" y="1567"/>
                          <a:pt x="984" y="1535"/>
                          <a:pt x="984" y="1519"/>
                        </a:cubicBezTo>
                        <a:cubicBezTo>
                          <a:pt x="984" y="1502"/>
                          <a:pt x="1000" y="1494"/>
                          <a:pt x="1000" y="1494"/>
                        </a:cubicBezTo>
                        <a:cubicBezTo>
                          <a:pt x="1000" y="1494"/>
                          <a:pt x="999" y="1395"/>
                          <a:pt x="999" y="1392"/>
                        </a:cubicBezTo>
                        <a:cubicBezTo>
                          <a:pt x="999" y="1389"/>
                          <a:pt x="1014" y="1365"/>
                          <a:pt x="1017" y="1363"/>
                        </a:cubicBezTo>
                        <a:cubicBezTo>
                          <a:pt x="1019" y="1360"/>
                          <a:pt x="1045" y="1360"/>
                          <a:pt x="1049" y="1357"/>
                        </a:cubicBezTo>
                        <a:cubicBezTo>
                          <a:pt x="1054" y="1355"/>
                          <a:pt x="1084" y="1356"/>
                          <a:pt x="1089" y="1356"/>
                        </a:cubicBezTo>
                        <a:cubicBezTo>
                          <a:pt x="1095" y="1356"/>
                          <a:pt x="1101" y="1343"/>
                          <a:pt x="1110" y="1335"/>
                        </a:cubicBezTo>
                        <a:cubicBezTo>
                          <a:pt x="1119" y="1328"/>
                          <a:pt x="1126" y="1315"/>
                          <a:pt x="1135" y="1300"/>
                        </a:cubicBezTo>
                        <a:cubicBezTo>
                          <a:pt x="1143" y="1285"/>
                          <a:pt x="1175" y="1251"/>
                          <a:pt x="1179" y="1247"/>
                        </a:cubicBezTo>
                        <a:cubicBezTo>
                          <a:pt x="1183" y="1243"/>
                          <a:pt x="1188" y="1245"/>
                          <a:pt x="1187" y="1229"/>
                        </a:cubicBezTo>
                        <a:cubicBezTo>
                          <a:pt x="1187" y="1213"/>
                          <a:pt x="1203" y="1211"/>
                          <a:pt x="1215" y="1197"/>
                        </a:cubicBezTo>
                        <a:cubicBezTo>
                          <a:pt x="1226" y="1184"/>
                          <a:pt x="1246" y="1166"/>
                          <a:pt x="1246" y="1166"/>
                        </a:cubicBezTo>
                        <a:cubicBezTo>
                          <a:pt x="1246" y="1166"/>
                          <a:pt x="1319" y="1166"/>
                          <a:pt x="1340" y="1166"/>
                        </a:cubicBezTo>
                        <a:cubicBezTo>
                          <a:pt x="1361" y="1166"/>
                          <a:pt x="1347" y="1161"/>
                          <a:pt x="1362" y="1150"/>
                        </a:cubicBezTo>
                        <a:cubicBezTo>
                          <a:pt x="1377" y="1139"/>
                          <a:pt x="1400" y="1129"/>
                          <a:pt x="1407" y="1130"/>
                        </a:cubicBezTo>
                        <a:cubicBezTo>
                          <a:pt x="1409" y="1130"/>
                          <a:pt x="1411" y="1131"/>
                          <a:pt x="1412" y="1132"/>
                        </a:cubicBezTo>
                        <a:cubicBezTo>
                          <a:pt x="1417" y="1121"/>
                          <a:pt x="1425" y="1104"/>
                          <a:pt x="1425" y="1099"/>
                        </a:cubicBezTo>
                        <a:cubicBezTo>
                          <a:pt x="1425" y="1093"/>
                          <a:pt x="1416" y="1086"/>
                          <a:pt x="1414" y="1074"/>
                        </a:cubicBezTo>
                        <a:cubicBezTo>
                          <a:pt x="1412" y="1062"/>
                          <a:pt x="1425" y="1061"/>
                          <a:pt x="1427" y="1049"/>
                        </a:cubicBezTo>
                        <a:cubicBezTo>
                          <a:pt x="1428" y="1038"/>
                          <a:pt x="1457" y="1008"/>
                          <a:pt x="1462" y="1008"/>
                        </a:cubicBezTo>
                        <a:cubicBezTo>
                          <a:pt x="1467" y="1008"/>
                          <a:pt x="1486" y="1009"/>
                          <a:pt x="1486" y="1009"/>
                        </a:cubicBezTo>
                        <a:cubicBezTo>
                          <a:pt x="1486" y="1009"/>
                          <a:pt x="1497" y="997"/>
                          <a:pt x="1515" y="983"/>
                        </a:cubicBezTo>
                        <a:cubicBezTo>
                          <a:pt x="1532" y="968"/>
                          <a:pt x="1535" y="938"/>
                          <a:pt x="1535" y="938"/>
                        </a:cubicBezTo>
                        <a:cubicBezTo>
                          <a:pt x="1535" y="938"/>
                          <a:pt x="1489" y="932"/>
                          <a:pt x="1485" y="931"/>
                        </a:cubicBezTo>
                        <a:cubicBezTo>
                          <a:pt x="1482" y="931"/>
                          <a:pt x="1479" y="923"/>
                          <a:pt x="1477" y="911"/>
                        </a:cubicBezTo>
                        <a:cubicBezTo>
                          <a:pt x="1475" y="899"/>
                          <a:pt x="1407" y="854"/>
                          <a:pt x="1407" y="848"/>
                        </a:cubicBezTo>
                        <a:cubicBezTo>
                          <a:pt x="1407" y="842"/>
                          <a:pt x="1415" y="830"/>
                          <a:pt x="1425" y="825"/>
                        </a:cubicBezTo>
                        <a:cubicBezTo>
                          <a:pt x="1435" y="819"/>
                          <a:pt x="1431" y="802"/>
                          <a:pt x="1426" y="790"/>
                        </a:cubicBezTo>
                        <a:cubicBezTo>
                          <a:pt x="1421" y="778"/>
                          <a:pt x="1415" y="808"/>
                          <a:pt x="1375" y="810"/>
                        </a:cubicBezTo>
                        <a:cubicBezTo>
                          <a:pt x="1334" y="812"/>
                          <a:pt x="1334" y="758"/>
                          <a:pt x="1333" y="747"/>
                        </a:cubicBezTo>
                        <a:cubicBezTo>
                          <a:pt x="1331" y="737"/>
                          <a:pt x="1337" y="731"/>
                          <a:pt x="1341" y="730"/>
                        </a:cubicBezTo>
                        <a:cubicBezTo>
                          <a:pt x="1345" y="729"/>
                          <a:pt x="1347" y="717"/>
                          <a:pt x="1347" y="711"/>
                        </a:cubicBezTo>
                        <a:cubicBezTo>
                          <a:pt x="1347" y="705"/>
                          <a:pt x="1392" y="677"/>
                          <a:pt x="1394" y="675"/>
                        </a:cubicBezTo>
                        <a:cubicBezTo>
                          <a:pt x="1396" y="673"/>
                          <a:pt x="1396" y="547"/>
                          <a:pt x="1393" y="524"/>
                        </a:cubicBezTo>
                        <a:cubicBezTo>
                          <a:pt x="1389" y="501"/>
                          <a:pt x="1364" y="469"/>
                          <a:pt x="1361" y="468"/>
                        </a:cubicBezTo>
                        <a:cubicBezTo>
                          <a:pt x="1359" y="467"/>
                          <a:pt x="1353" y="467"/>
                          <a:pt x="1345" y="472"/>
                        </a:cubicBezTo>
                        <a:cubicBezTo>
                          <a:pt x="1338" y="477"/>
                          <a:pt x="1327" y="526"/>
                          <a:pt x="1326" y="528"/>
                        </a:cubicBezTo>
                        <a:cubicBezTo>
                          <a:pt x="1325" y="530"/>
                          <a:pt x="1265" y="523"/>
                          <a:pt x="1256" y="519"/>
                        </a:cubicBezTo>
                        <a:cubicBezTo>
                          <a:pt x="1247" y="514"/>
                          <a:pt x="1263" y="505"/>
                          <a:pt x="1270" y="495"/>
                        </a:cubicBezTo>
                        <a:cubicBezTo>
                          <a:pt x="1277" y="484"/>
                          <a:pt x="1249" y="470"/>
                          <a:pt x="1238" y="467"/>
                        </a:cubicBezTo>
                        <a:cubicBezTo>
                          <a:pt x="1227" y="463"/>
                          <a:pt x="1205" y="486"/>
                          <a:pt x="1203" y="491"/>
                        </a:cubicBezTo>
                        <a:cubicBezTo>
                          <a:pt x="1201" y="497"/>
                          <a:pt x="1147" y="472"/>
                          <a:pt x="1137" y="458"/>
                        </a:cubicBezTo>
                        <a:cubicBezTo>
                          <a:pt x="1126" y="444"/>
                          <a:pt x="1150" y="419"/>
                          <a:pt x="1150" y="412"/>
                        </a:cubicBezTo>
                        <a:cubicBezTo>
                          <a:pt x="1150" y="405"/>
                          <a:pt x="1168" y="385"/>
                          <a:pt x="1172" y="384"/>
                        </a:cubicBezTo>
                        <a:cubicBezTo>
                          <a:pt x="1176" y="383"/>
                          <a:pt x="1136" y="313"/>
                          <a:pt x="1114" y="283"/>
                        </a:cubicBezTo>
                        <a:cubicBezTo>
                          <a:pt x="1092" y="253"/>
                          <a:pt x="1047" y="290"/>
                          <a:pt x="1036" y="291"/>
                        </a:cubicBezTo>
                        <a:cubicBezTo>
                          <a:pt x="1025" y="293"/>
                          <a:pt x="980" y="258"/>
                          <a:pt x="983" y="245"/>
                        </a:cubicBezTo>
                        <a:cubicBezTo>
                          <a:pt x="987" y="233"/>
                          <a:pt x="997" y="227"/>
                          <a:pt x="1007" y="217"/>
                        </a:cubicBezTo>
                        <a:cubicBezTo>
                          <a:pt x="1017" y="208"/>
                          <a:pt x="995" y="168"/>
                          <a:pt x="991" y="162"/>
                        </a:cubicBezTo>
                        <a:cubicBezTo>
                          <a:pt x="988" y="156"/>
                          <a:pt x="949" y="153"/>
                          <a:pt x="936" y="151"/>
                        </a:cubicBezTo>
                        <a:cubicBezTo>
                          <a:pt x="923" y="150"/>
                          <a:pt x="906" y="132"/>
                          <a:pt x="911" y="105"/>
                        </a:cubicBezTo>
                        <a:cubicBezTo>
                          <a:pt x="917" y="77"/>
                          <a:pt x="936" y="65"/>
                          <a:pt x="934" y="52"/>
                        </a:cubicBezTo>
                        <a:cubicBezTo>
                          <a:pt x="932" y="39"/>
                          <a:pt x="921" y="29"/>
                          <a:pt x="911" y="25"/>
                        </a:cubicBezTo>
                        <a:cubicBezTo>
                          <a:pt x="901" y="20"/>
                          <a:pt x="893" y="31"/>
                          <a:pt x="884" y="31"/>
                        </a:cubicBezTo>
                        <a:cubicBezTo>
                          <a:pt x="875" y="31"/>
                          <a:pt x="823" y="7"/>
                          <a:pt x="811" y="3"/>
                        </a:cubicBezTo>
                        <a:cubicBezTo>
                          <a:pt x="800" y="0"/>
                          <a:pt x="802" y="3"/>
                          <a:pt x="786" y="9"/>
                        </a:cubicBezTo>
                        <a:cubicBezTo>
                          <a:pt x="770" y="14"/>
                          <a:pt x="715" y="21"/>
                          <a:pt x="710" y="24"/>
                        </a:cubicBezTo>
                        <a:cubicBezTo>
                          <a:pt x="705" y="27"/>
                          <a:pt x="673" y="65"/>
                          <a:pt x="661" y="71"/>
                        </a:cubicBezTo>
                        <a:cubicBezTo>
                          <a:pt x="649" y="78"/>
                          <a:pt x="642" y="142"/>
                          <a:pt x="642" y="150"/>
                        </a:cubicBezTo>
                        <a:cubicBezTo>
                          <a:pt x="642" y="158"/>
                          <a:pt x="621" y="163"/>
                          <a:pt x="611" y="163"/>
                        </a:cubicBezTo>
                        <a:cubicBezTo>
                          <a:pt x="602" y="163"/>
                          <a:pt x="607" y="111"/>
                          <a:pt x="607" y="106"/>
                        </a:cubicBezTo>
                        <a:cubicBezTo>
                          <a:pt x="608" y="101"/>
                          <a:pt x="569" y="69"/>
                          <a:pt x="556" y="51"/>
                        </a:cubicBezTo>
                        <a:cubicBezTo>
                          <a:pt x="543" y="32"/>
                          <a:pt x="552" y="27"/>
                          <a:pt x="544" y="23"/>
                        </a:cubicBezTo>
                        <a:cubicBezTo>
                          <a:pt x="543" y="23"/>
                          <a:pt x="543" y="23"/>
                          <a:pt x="542" y="23"/>
                        </a:cubicBezTo>
                        <a:cubicBezTo>
                          <a:pt x="534" y="21"/>
                          <a:pt x="520" y="27"/>
                          <a:pt x="516" y="32"/>
                        </a:cubicBezTo>
                        <a:cubicBezTo>
                          <a:pt x="512" y="38"/>
                          <a:pt x="468" y="69"/>
                          <a:pt x="455" y="82"/>
                        </a:cubicBezTo>
                        <a:cubicBezTo>
                          <a:pt x="442" y="95"/>
                          <a:pt x="451" y="110"/>
                          <a:pt x="450" y="128"/>
                        </a:cubicBezTo>
                        <a:cubicBezTo>
                          <a:pt x="449" y="146"/>
                          <a:pt x="428" y="167"/>
                          <a:pt x="417" y="182"/>
                        </a:cubicBezTo>
                        <a:cubicBezTo>
                          <a:pt x="406" y="197"/>
                          <a:pt x="387" y="188"/>
                          <a:pt x="387" y="188"/>
                        </a:cubicBezTo>
                        <a:cubicBezTo>
                          <a:pt x="387" y="188"/>
                          <a:pt x="326" y="229"/>
                          <a:pt x="307" y="232"/>
                        </a:cubicBezTo>
                        <a:cubicBezTo>
                          <a:pt x="288" y="235"/>
                          <a:pt x="247" y="245"/>
                          <a:pt x="238" y="250"/>
                        </a:cubicBezTo>
                        <a:cubicBezTo>
                          <a:pt x="229" y="255"/>
                          <a:pt x="173" y="278"/>
                          <a:pt x="173" y="278"/>
                        </a:cubicBezTo>
                        <a:cubicBezTo>
                          <a:pt x="173" y="278"/>
                          <a:pt x="125" y="323"/>
                          <a:pt x="124" y="329"/>
                        </a:cubicBezTo>
                        <a:cubicBezTo>
                          <a:pt x="123" y="335"/>
                          <a:pt x="121" y="399"/>
                          <a:pt x="121" y="410"/>
                        </a:cubicBezTo>
                        <a:cubicBezTo>
                          <a:pt x="121" y="421"/>
                          <a:pt x="143" y="520"/>
                          <a:pt x="143" y="520"/>
                        </a:cubicBezTo>
                        <a:cubicBezTo>
                          <a:pt x="143" y="520"/>
                          <a:pt x="135" y="633"/>
                          <a:pt x="135" y="636"/>
                        </a:cubicBezTo>
                        <a:cubicBezTo>
                          <a:pt x="135" y="639"/>
                          <a:pt x="140" y="644"/>
                          <a:pt x="147" y="659"/>
                        </a:cubicBezTo>
                        <a:cubicBezTo>
                          <a:pt x="154" y="674"/>
                          <a:pt x="155" y="663"/>
                          <a:pt x="171" y="674"/>
                        </a:cubicBezTo>
                        <a:cubicBezTo>
                          <a:pt x="187" y="685"/>
                          <a:pt x="177" y="757"/>
                          <a:pt x="179" y="773"/>
                        </a:cubicBezTo>
                        <a:cubicBezTo>
                          <a:pt x="181" y="789"/>
                          <a:pt x="206" y="828"/>
                          <a:pt x="210" y="844"/>
                        </a:cubicBezTo>
                        <a:cubicBezTo>
                          <a:pt x="214" y="860"/>
                          <a:pt x="209" y="876"/>
                          <a:pt x="200" y="895"/>
                        </a:cubicBezTo>
                        <a:cubicBezTo>
                          <a:pt x="191" y="914"/>
                          <a:pt x="133" y="909"/>
                          <a:pt x="120" y="909"/>
                        </a:cubicBezTo>
                        <a:cubicBezTo>
                          <a:pt x="107" y="909"/>
                          <a:pt x="78" y="924"/>
                          <a:pt x="56" y="931"/>
                        </a:cubicBezTo>
                        <a:cubicBezTo>
                          <a:pt x="34" y="938"/>
                          <a:pt x="43" y="966"/>
                          <a:pt x="36" y="973"/>
                        </a:cubicBezTo>
                        <a:cubicBezTo>
                          <a:pt x="29" y="980"/>
                          <a:pt x="0" y="997"/>
                          <a:pt x="0" y="997"/>
                        </a:cubicBezTo>
                        <a:cubicBezTo>
                          <a:pt x="0" y="997"/>
                          <a:pt x="18" y="1039"/>
                          <a:pt x="28" y="1048"/>
                        </a:cubicBezTo>
                        <a:cubicBezTo>
                          <a:pt x="38" y="1057"/>
                          <a:pt x="31" y="1064"/>
                          <a:pt x="32" y="1076"/>
                        </a:cubicBezTo>
                        <a:cubicBezTo>
                          <a:pt x="33" y="1088"/>
                          <a:pt x="44" y="1080"/>
                          <a:pt x="52" y="1086"/>
                        </a:cubicBezTo>
                        <a:cubicBezTo>
                          <a:pt x="60" y="1092"/>
                          <a:pt x="58" y="1109"/>
                          <a:pt x="58" y="1115"/>
                        </a:cubicBezTo>
                        <a:cubicBezTo>
                          <a:pt x="58" y="1121"/>
                          <a:pt x="69" y="1124"/>
                          <a:pt x="84" y="1127"/>
                        </a:cubicBezTo>
                        <a:cubicBezTo>
                          <a:pt x="92" y="1129"/>
                          <a:pt x="118" y="1134"/>
                          <a:pt x="142" y="1138"/>
                        </a:cubicBezTo>
                        <a:cubicBezTo>
                          <a:pt x="161" y="1119"/>
                          <a:pt x="193" y="1099"/>
                          <a:pt x="209" y="1089"/>
                        </a:cubicBezTo>
                        <a:cubicBezTo>
                          <a:pt x="225" y="1080"/>
                          <a:pt x="223" y="1071"/>
                          <a:pt x="247" y="1049"/>
                        </a:cubicBezTo>
                        <a:close/>
                      </a:path>
                    </a:pathLst>
                  </a:custGeom>
                  <a:solidFill>
                    <a:srgbClr val="FFFF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533">
                    <a:extLst>
                      <a:ext uri="{FF2B5EF4-FFF2-40B4-BE49-F238E27FC236}">
                        <a16:creationId xmlns:a16="http://schemas.microsoft.com/office/drawing/2014/main" id="{08C58DA2-9E36-6EE7-25A4-06EFAF1EEB13}"/>
                      </a:ext>
                    </a:extLst>
                  </p:cNvPr>
                  <p:cNvSpPr>
                    <a:spLocks noChangeAspect="1"/>
                  </p:cNvSpPr>
                  <p:nvPr/>
                </p:nvSpPr>
                <p:spPr bwMode="auto">
                  <a:xfrm>
                    <a:off x="6788917" y="2457649"/>
                    <a:ext cx="994285" cy="994726"/>
                  </a:xfrm>
                  <a:custGeom>
                    <a:avLst/>
                    <a:gdLst>
                      <a:gd name="T0" fmla="*/ 134 w 2544"/>
                      <a:gd name="T1" fmla="*/ 536 h 2549"/>
                      <a:gd name="T2" fmla="*/ 233 w 2544"/>
                      <a:gd name="T3" fmla="*/ 532 h 2549"/>
                      <a:gd name="T4" fmla="*/ 305 w 2544"/>
                      <a:gd name="T5" fmla="*/ 424 h 2549"/>
                      <a:gd name="T6" fmla="*/ 468 w 2544"/>
                      <a:gd name="T7" fmla="*/ 356 h 2549"/>
                      <a:gd name="T8" fmla="*/ 574 w 2544"/>
                      <a:gd name="T9" fmla="*/ 345 h 2549"/>
                      <a:gd name="T10" fmla="*/ 610 w 2544"/>
                      <a:gd name="T11" fmla="*/ 455 h 2549"/>
                      <a:gd name="T12" fmla="*/ 636 w 2544"/>
                      <a:gd name="T13" fmla="*/ 535 h 2549"/>
                      <a:gd name="T14" fmla="*/ 763 w 2544"/>
                      <a:gd name="T15" fmla="*/ 534 h 2549"/>
                      <a:gd name="T16" fmla="*/ 879 w 2544"/>
                      <a:gd name="T17" fmla="*/ 660 h 2549"/>
                      <a:gd name="T18" fmla="*/ 898 w 2544"/>
                      <a:gd name="T19" fmla="*/ 799 h 2549"/>
                      <a:gd name="T20" fmla="*/ 996 w 2544"/>
                      <a:gd name="T21" fmla="*/ 871 h 2549"/>
                      <a:gd name="T22" fmla="*/ 1022 w 2544"/>
                      <a:gd name="T23" fmla="*/ 1012 h 2549"/>
                      <a:gd name="T24" fmla="*/ 1066 w 2544"/>
                      <a:gd name="T25" fmla="*/ 1192 h 2549"/>
                      <a:gd name="T26" fmla="*/ 1094 w 2544"/>
                      <a:gd name="T27" fmla="*/ 1428 h 2549"/>
                      <a:gd name="T28" fmla="*/ 1177 w 2544"/>
                      <a:gd name="T29" fmla="*/ 1585 h 2549"/>
                      <a:gd name="T30" fmla="*/ 1195 w 2544"/>
                      <a:gd name="T31" fmla="*/ 1755 h 2549"/>
                      <a:gd name="T32" fmla="*/ 1151 w 2544"/>
                      <a:gd name="T33" fmla="*/ 1837 h 2549"/>
                      <a:gd name="T34" fmla="*/ 1158 w 2544"/>
                      <a:gd name="T35" fmla="*/ 1870 h 2549"/>
                      <a:gd name="T36" fmla="*/ 1276 w 2544"/>
                      <a:gd name="T37" fmla="*/ 1902 h 2549"/>
                      <a:gd name="T38" fmla="*/ 1495 w 2544"/>
                      <a:gd name="T39" fmla="*/ 1955 h 2549"/>
                      <a:gd name="T40" fmla="*/ 1560 w 2544"/>
                      <a:gd name="T41" fmla="*/ 2046 h 2549"/>
                      <a:gd name="T42" fmla="*/ 1612 w 2544"/>
                      <a:gd name="T43" fmla="*/ 2115 h 2549"/>
                      <a:gd name="T44" fmla="*/ 1697 w 2544"/>
                      <a:gd name="T45" fmla="*/ 2183 h 2549"/>
                      <a:gd name="T46" fmla="*/ 1752 w 2544"/>
                      <a:gd name="T47" fmla="*/ 2346 h 2549"/>
                      <a:gd name="T48" fmla="*/ 1751 w 2544"/>
                      <a:gd name="T49" fmla="*/ 2549 h 2549"/>
                      <a:gd name="T50" fmla="*/ 1875 w 2544"/>
                      <a:gd name="T51" fmla="*/ 2452 h 2549"/>
                      <a:gd name="T52" fmla="*/ 1891 w 2544"/>
                      <a:gd name="T53" fmla="*/ 2291 h 2549"/>
                      <a:gd name="T54" fmla="*/ 2018 w 2544"/>
                      <a:gd name="T55" fmla="*/ 2208 h 2549"/>
                      <a:gd name="T56" fmla="*/ 2201 w 2544"/>
                      <a:gd name="T57" fmla="*/ 2115 h 2549"/>
                      <a:gd name="T58" fmla="*/ 2215 w 2544"/>
                      <a:gd name="T59" fmla="*/ 2012 h 2549"/>
                      <a:gd name="T60" fmla="*/ 2282 w 2544"/>
                      <a:gd name="T61" fmla="*/ 1870 h 2549"/>
                      <a:gd name="T62" fmla="*/ 2348 w 2544"/>
                      <a:gd name="T63" fmla="*/ 1750 h 2549"/>
                      <a:gd name="T64" fmla="*/ 2393 w 2544"/>
                      <a:gd name="T65" fmla="*/ 1660 h 2549"/>
                      <a:gd name="T66" fmla="*/ 2341 w 2544"/>
                      <a:gd name="T67" fmla="*/ 1568 h 2549"/>
                      <a:gd name="T68" fmla="*/ 2303 w 2544"/>
                      <a:gd name="T69" fmla="*/ 1474 h 2549"/>
                      <a:gd name="T70" fmla="*/ 2342 w 2544"/>
                      <a:gd name="T71" fmla="*/ 1195 h 2549"/>
                      <a:gd name="T72" fmla="*/ 2349 w 2544"/>
                      <a:gd name="T73" fmla="*/ 865 h 2549"/>
                      <a:gd name="T74" fmla="*/ 2516 w 2544"/>
                      <a:gd name="T75" fmla="*/ 690 h 2549"/>
                      <a:gd name="T76" fmla="*/ 2474 w 2544"/>
                      <a:gd name="T77" fmla="*/ 542 h 2549"/>
                      <a:gd name="T78" fmla="*/ 2476 w 2544"/>
                      <a:gd name="T79" fmla="*/ 277 h 2549"/>
                      <a:gd name="T80" fmla="*/ 2365 w 2544"/>
                      <a:gd name="T81" fmla="*/ 236 h 2549"/>
                      <a:gd name="T82" fmla="*/ 2297 w 2544"/>
                      <a:gd name="T83" fmla="*/ 253 h 2549"/>
                      <a:gd name="T84" fmla="*/ 2122 w 2544"/>
                      <a:gd name="T85" fmla="*/ 170 h 2549"/>
                      <a:gd name="T86" fmla="*/ 1973 w 2544"/>
                      <a:gd name="T87" fmla="*/ 109 h 2549"/>
                      <a:gd name="T88" fmla="*/ 1737 w 2544"/>
                      <a:gd name="T89" fmla="*/ 32 h 2549"/>
                      <a:gd name="T90" fmla="*/ 975 w 2544"/>
                      <a:gd name="T91" fmla="*/ 24 h 2549"/>
                      <a:gd name="T92" fmla="*/ 551 w 2544"/>
                      <a:gd name="T93" fmla="*/ 106 h 2549"/>
                      <a:gd name="T94" fmla="*/ 356 w 2544"/>
                      <a:gd name="T95" fmla="*/ 210 h 2549"/>
                      <a:gd name="T96" fmla="*/ 211 w 2544"/>
                      <a:gd name="T97" fmla="*/ 366 h 2549"/>
                      <a:gd name="T98" fmla="*/ 69 w 2544"/>
                      <a:gd name="T99" fmla="*/ 518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44" h="2549">
                        <a:moveTo>
                          <a:pt x="4" y="543"/>
                        </a:moveTo>
                        <a:cubicBezTo>
                          <a:pt x="11" y="557"/>
                          <a:pt x="27" y="542"/>
                          <a:pt x="34" y="535"/>
                        </a:cubicBezTo>
                        <a:cubicBezTo>
                          <a:pt x="42" y="528"/>
                          <a:pt x="134" y="536"/>
                          <a:pt x="134" y="536"/>
                        </a:cubicBezTo>
                        <a:cubicBezTo>
                          <a:pt x="134" y="536"/>
                          <a:pt x="152" y="527"/>
                          <a:pt x="163" y="527"/>
                        </a:cubicBezTo>
                        <a:cubicBezTo>
                          <a:pt x="174" y="527"/>
                          <a:pt x="189" y="535"/>
                          <a:pt x="195" y="535"/>
                        </a:cubicBezTo>
                        <a:cubicBezTo>
                          <a:pt x="200" y="535"/>
                          <a:pt x="233" y="532"/>
                          <a:pt x="233" y="532"/>
                        </a:cubicBezTo>
                        <a:cubicBezTo>
                          <a:pt x="233" y="532"/>
                          <a:pt x="243" y="521"/>
                          <a:pt x="257" y="510"/>
                        </a:cubicBezTo>
                        <a:cubicBezTo>
                          <a:pt x="270" y="499"/>
                          <a:pt x="291" y="478"/>
                          <a:pt x="292" y="472"/>
                        </a:cubicBezTo>
                        <a:cubicBezTo>
                          <a:pt x="294" y="467"/>
                          <a:pt x="295" y="444"/>
                          <a:pt x="305" y="424"/>
                        </a:cubicBezTo>
                        <a:cubicBezTo>
                          <a:pt x="315" y="404"/>
                          <a:pt x="378" y="385"/>
                          <a:pt x="384" y="385"/>
                        </a:cubicBezTo>
                        <a:cubicBezTo>
                          <a:pt x="390" y="385"/>
                          <a:pt x="408" y="379"/>
                          <a:pt x="423" y="372"/>
                        </a:cubicBezTo>
                        <a:cubicBezTo>
                          <a:pt x="437" y="365"/>
                          <a:pt x="461" y="361"/>
                          <a:pt x="468" y="356"/>
                        </a:cubicBezTo>
                        <a:cubicBezTo>
                          <a:pt x="476" y="351"/>
                          <a:pt x="495" y="338"/>
                          <a:pt x="501" y="336"/>
                        </a:cubicBezTo>
                        <a:cubicBezTo>
                          <a:pt x="507" y="333"/>
                          <a:pt x="520" y="324"/>
                          <a:pt x="530" y="320"/>
                        </a:cubicBezTo>
                        <a:cubicBezTo>
                          <a:pt x="540" y="316"/>
                          <a:pt x="568" y="332"/>
                          <a:pt x="574" y="345"/>
                        </a:cubicBezTo>
                        <a:cubicBezTo>
                          <a:pt x="581" y="359"/>
                          <a:pt x="585" y="369"/>
                          <a:pt x="588" y="387"/>
                        </a:cubicBezTo>
                        <a:cubicBezTo>
                          <a:pt x="591" y="405"/>
                          <a:pt x="596" y="404"/>
                          <a:pt x="597" y="429"/>
                        </a:cubicBezTo>
                        <a:cubicBezTo>
                          <a:pt x="598" y="454"/>
                          <a:pt x="609" y="452"/>
                          <a:pt x="610" y="455"/>
                        </a:cubicBezTo>
                        <a:cubicBezTo>
                          <a:pt x="612" y="459"/>
                          <a:pt x="598" y="474"/>
                          <a:pt x="598" y="474"/>
                        </a:cubicBezTo>
                        <a:cubicBezTo>
                          <a:pt x="598" y="474"/>
                          <a:pt x="606" y="482"/>
                          <a:pt x="606" y="495"/>
                        </a:cubicBezTo>
                        <a:cubicBezTo>
                          <a:pt x="606" y="509"/>
                          <a:pt x="624" y="529"/>
                          <a:pt x="636" y="535"/>
                        </a:cubicBezTo>
                        <a:cubicBezTo>
                          <a:pt x="648" y="541"/>
                          <a:pt x="657" y="523"/>
                          <a:pt x="662" y="522"/>
                        </a:cubicBezTo>
                        <a:cubicBezTo>
                          <a:pt x="667" y="522"/>
                          <a:pt x="679" y="511"/>
                          <a:pt x="687" y="511"/>
                        </a:cubicBezTo>
                        <a:cubicBezTo>
                          <a:pt x="695" y="510"/>
                          <a:pt x="763" y="534"/>
                          <a:pt x="763" y="534"/>
                        </a:cubicBezTo>
                        <a:cubicBezTo>
                          <a:pt x="763" y="534"/>
                          <a:pt x="824" y="533"/>
                          <a:pt x="839" y="533"/>
                        </a:cubicBezTo>
                        <a:cubicBezTo>
                          <a:pt x="855" y="534"/>
                          <a:pt x="851" y="541"/>
                          <a:pt x="857" y="546"/>
                        </a:cubicBezTo>
                        <a:cubicBezTo>
                          <a:pt x="864" y="552"/>
                          <a:pt x="874" y="594"/>
                          <a:pt x="879" y="660"/>
                        </a:cubicBezTo>
                        <a:cubicBezTo>
                          <a:pt x="883" y="726"/>
                          <a:pt x="903" y="759"/>
                          <a:pt x="900" y="769"/>
                        </a:cubicBezTo>
                        <a:cubicBezTo>
                          <a:pt x="898" y="778"/>
                          <a:pt x="888" y="791"/>
                          <a:pt x="888" y="793"/>
                        </a:cubicBezTo>
                        <a:cubicBezTo>
                          <a:pt x="887" y="794"/>
                          <a:pt x="893" y="797"/>
                          <a:pt x="898" y="799"/>
                        </a:cubicBezTo>
                        <a:cubicBezTo>
                          <a:pt x="901" y="799"/>
                          <a:pt x="903" y="800"/>
                          <a:pt x="904" y="800"/>
                        </a:cubicBezTo>
                        <a:cubicBezTo>
                          <a:pt x="908" y="800"/>
                          <a:pt x="938" y="810"/>
                          <a:pt x="952" y="819"/>
                        </a:cubicBezTo>
                        <a:cubicBezTo>
                          <a:pt x="966" y="827"/>
                          <a:pt x="995" y="866"/>
                          <a:pt x="996" y="871"/>
                        </a:cubicBezTo>
                        <a:cubicBezTo>
                          <a:pt x="998" y="875"/>
                          <a:pt x="1000" y="880"/>
                          <a:pt x="998" y="890"/>
                        </a:cubicBezTo>
                        <a:cubicBezTo>
                          <a:pt x="996" y="901"/>
                          <a:pt x="1018" y="911"/>
                          <a:pt x="1018" y="911"/>
                        </a:cubicBezTo>
                        <a:cubicBezTo>
                          <a:pt x="1022" y="1012"/>
                          <a:pt x="1022" y="1012"/>
                          <a:pt x="1022" y="1012"/>
                        </a:cubicBezTo>
                        <a:cubicBezTo>
                          <a:pt x="1027" y="1021"/>
                          <a:pt x="1027" y="1021"/>
                          <a:pt x="1027" y="1021"/>
                        </a:cubicBezTo>
                        <a:cubicBezTo>
                          <a:pt x="1023" y="1098"/>
                          <a:pt x="1023" y="1098"/>
                          <a:pt x="1023" y="1098"/>
                        </a:cubicBezTo>
                        <a:cubicBezTo>
                          <a:pt x="1066" y="1192"/>
                          <a:pt x="1066" y="1192"/>
                          <a:pt x="1066" y="1192"/>
                        </a:cubicBezTo>
                        <a:cubicBezTo>
                          <a:pt x="1069" y="1319"/>
                          <a:pt x="1069" y="1319"/>
                          <a:pt x="1069" y="1319"/>
                        </a:cubicBezTo>
                        <a:cubicBezTo>
                          <a:pt x="1091" y="1358"/>
                          <a:pt x="1091" y="1358"/>
                          <a:pt x="1091" y="1358"/>
                        </a:cubicBezTo>
                        <a:cubicBezTo>
                          <a:pt x="1094" y="1428"/>
                          <a:pt x="1094" y="1428"/>
                          <a:pt x="1094" y="1428"/>
                        </a:cubicBezTo>
                        <a:cubicBezTo>
                          <a:pt x="1134" y="1503"/>
                          <a:pt x="1134" y="1503"/>
                          <a:pt x="1134" y="1503"/>
                        </a:cubicBezTo>
                        <a:cubicBezTo>
                          <a:pt x="1134" y="1503"/>
                          <a:pt x="1151" y="1507"/>
                          <a:pt x="1152" y="1510"/>
                        </a:cubicBezTo>
                        <a:cubicBezTo>
                          <a:pt x="1153" y="1514"/>
                          <a:pt x="1173" y="1567"/>
                          <a:pt x="1177" y="1585"/>
                        </a:cubicBezTo>
                        <a:cubicBezTo>
                          <a:pt x="1180" y="1603"/>
                          <a:pt x="1190" y="1627"/>
                          <a:pt x="1189" y="1646"/>
                        </a:cubicBezTo>
                        <a:cubicBezTo>
                          <a:pt x="1188" y="1665"/>
                          <a:pt x="1196" y="1679"/>
                          <a:pt x="1196" y="1679"/>
                        </a:cubicBezTo>
                        <a:cubicBezTo>
                          <a:pt x="1196" y="1679"/>
                          <a:pt x="1195" y="1749"/>
                          <a:pt x="1195" y="1755"/>
                        </a:cubicBezTo>
                        <a:cubicBezTo>
                          <a:pt x="1195" y="1761"/>
                          <a:pt x="1190" y="1766"/>
                          <a:pt x="1192" y="1778"/>
                        </a:cubicBezTo>
                        <a:cubicBezTo>
                          <a:pt x="1194" y="1791"/>
                          <a:pt x="1181" y="1805"/>
                          <a:pt x="1172" y="1813"/>
                        </a:cubicBezTo>
                        <a:cubicBezTo>
                          <a:pt x="1163" y="1821"/>
                          <a:pt x="1152" y="1835"/>
                          <a:pt x="1151" y="1837"/>
                        </a:cubicBezTo>
                        <a:cubicBezTo>
                          <a:pt x="1149" y="1838"/>
                          <a:pt x="1137" y="1838"/>
                          <a:pt x="1135" y="1839"/>
                        </a:cubicBezTo>
                        <a:cubicBezTo>
                          <a:pt x="1133" y="1840"/>
                          <a:pt x="1135" y="1846"/>
                          <a:pt x="1137" y="1854"/>
                        </a:cubicBezTo>
                        <a:cubicBezTo>
                          <a:pt x="1139" y="1863"/>
                          <a:pt x="1152" y="1865"/>
                          <a:pt x="1158" y="1870"/>
                        </a:cubicBezTo>
                        <a:cubicBezTo>
                          <a:pt x="1164" y="1875"/>
                          <a:pt x="1164" y="1882"/>
                          <a:pt x="1167" y="1887"/>
                        </a:cubicBezTo>
                        <a:cubicBezTo>
                          <a:pt x="1170" y="1891"/>
                          <a:pt x="1188" y="1902"/>
                          <a:pt x="1188" y="1902"/>
                        </a:cubicBezTo>
                        <a:cubicBezTo>
                          <a:pt x="1276" y="1902"/>
                          <a:pt x="1276" y="1902"/>
                          <a:pt x="1276" y="1902"/>
                        </a:cubicBezTo>
                        <a:cubicBezTo>
                          <a:pt x="1380" y="1902"/>
                          <a:pt x="1380" y="1902"/>
                          <a:pt x="1380" y="1902"/>
                        </a:cubicBezTo>
                        <a:cubicBezTo>
                          <a:pt x="1380" y="1902"/>
                          <a:pt x="1458" y="1939"/>
                          <a:pt x="1468" y="1950"/>
                        </a:cubicBezTo>
                        <a:cubicBezTo>
                          <a:pt x="1478" y="1960"/>
                          <a:pt x="1484" y="1955"/>
                          <a:pt x="1495" y="1955"/>
                        </a:cubicBezTo>
                        <a:cubicBezTo>
                          <a:pt x="1506" y="1955"/>
                          <a:pt x="1525" y="1968"/>
                          <a:pt x="1535" y="1974"/>
                        </a:cubicBezTo>
                        <a:cubicBezTo>
                          <a:pt x="1546" y="1981"/>
                          <a:pt x="1551" y="2003"/>
                          <a:pt x="1550" y="2004"/>
                        </a:cubicBezTo>
                        <a:cubicBezTo>
                          <a:pt x="1550" y="2006"/>
                          <a:pt x="1559" y="2038"/>
                          <a:pt x="1560" y="2046"/>
                        </a:cubicBezTo>
                        <a:cubicBezTo>
                          <a:pt x="1560" y="2053"/>
                          <a:pt x="1566" y="2060"/>
                          <a:pt x="1574" y="2073"/>
                        </a:cubicBezTo>
                        <a:cubicBezTo>
                          <a:pt x="1583" y="2086"/>
                          <a:pt x="1593" y="2092"/>
                          <a:pt x="1600" y="2094"/>
                        </a:cubicBezTo>
                        <a:cubicBezTo>
                          <a:pt x="1607" y="2096"/>
                          <a:pt x="1607" y="2107"/>
                          <a:pt x="1612" y="2115"/>
                        </a:cubicBezTo>
                        <a:cubicBezTo>
                          <a:pt x="1617" y="2123"/>
                          <a:pt x="1638" y="2141"/>
                          <a:pt x="1644" y="2142"/>
                        </a:cubicBezTo>
                        <a:cubicBezTo>
                          <a:pt x="1651" y="2143"/>
                          <a:pt x="1662" y="2148"/>
                          <a:pt x="1673" y="2157"/>
                        </a:cubicBezTo>
                        <a:cubicBezTo>
                          <a:pt x="1684" y="2166"/>
                          <a:pt x="1690" y="2178"/>
                          <a:pt x="1697" y="2183"/>
                        </a:cubicBezTo>
                        <a:cubicBezTo>
                          <a:pt x="1704" y="2188"/>
                          <a:pt x="1711" y="2201"/>
                          <a:pt x="1711" y="2216"/>
                        </a:cubicBezTo>
                        <a:cubicBezTo>
                          <a:pt x="1711" y="2230"/>
                          <a:pt x="1737" y="2247"/>
                          <a:pt x="1743" y="2257"/>
                        </a:cubicBezTo>
                        <a:cubicBezTo>
                          <a:pt x="1749" y="2268"/>
                          <a:pt x="1753" y="2331"/>
                          <a:pt x="1752" y="2346"/>
                        </a:cubicBezTo>
                        <a:cubicBezTo>
                          <a:pt x="1751" y="2361"/>
                          <a:pt x="1738" y="2528"/>
                          <a:pt x="1738" y="2528"/>
                        </a:cubicBezTo>
                        <a:cubicBezTo>
                          <a:pt x="1738" y="2528"/>
                          <a:pt x="1742" y="2534"/>
                          <a:pt x="1744" y="2537"/>
                        </a:cubicBezTo>
                        <a:cubicBezTo>
                          <a:pt x="1745" y="2539"/>
                          <a:pt x="1748" y="2543"/>
                          <a:pt x="1751" y="2549"/>
                        </a:cubicBezTo>
                        <a:cubicBezTo>
                          <a:pt x="1776" y="2538"/>
                          <a:pt x="1803" y="2527"/>
                          <a:pt x="1812" y="2524"/>
                        </a:cubicBezTo>
                        <a:cubicBezTo>
                          <a:pt x="1831" y="2518"/>
                          <a:pt x="1843" y="2499"/>
                          <a:pt x="1853" y="2490"/>
                        </a:cubicBezTo>
                        <a:cubicBezTo>
                          <a:pt x="1863" y="2480"/>
                          <a:pt x="1875" y="2463"/>
                          <a:pt x="1875" y="2452"/>
                        </a:cubicBezTo>
                        <a:cubicBezTo>
                          <a:pt x="1875" y="2440"/>
                          <a:pt x="1853" y="2370"/>
                          <a:pt x="1861" y="2350"/>
                        </a:cubicBezTo>
                        <a:cubicBezTo>
                          <a:pt x="1870" y="2331"/>
                          <a:pt x="1877" y="2293"/>
                          <a:pt x="1879" y="2293"/>
                        </a:cubicBezTo>
                        <a:cubicBezTo>
                          <a:pt x="1882" y="2293"/>
                          <a:pt x="1891" y="2291"/>
                          <a:pt x="1891" y="2291"/>
                        </a:cubicBezTo>
                        <a:cubicBezTo>
                          <a:pt x="1891" y="2291"/>
                          <a:pt x="1887" y="2256"/>
                          <a:pt x="1909" y="2247"/>
                        </a:cubicBezTo>
                        <a:cubicBezTo>
                          <a:pt x="1931" y="2238"/>
                          <a:pt x="1961" y="2229"/>
                          <a:pt x="1970" y="2225"/>
                        </a:cubicBezTo>
                        <a:cubicBezTo>
                          <a:pt x="1979" y="2221"/>
                          <a:pt x="1998" y="2209"/>
                          <a:pt x="2018" y="2208"/>
                        </a:cubicBezTo>
                        <a:cubicBezTo>
                          <a:pt x="2038" y="2208"/>
                          <a:pt x="2070" y="2200"/>
                          <a:pt x="2081" y="2191"/>
                        </a:cubicBezTo>
                        <a:cubicBezTo>
                          <a:pt x="2091" y="2182"/>
                          <a:pt x="2122" y="2182"/>
                          <a:pt x="2156" y="2158"/>
                        </a:cubicBezTo>
                        <a:cubicBezTo>
                          <a:pt x="2190" y="2134"/>
                          <a:pt x="2201" y="2117"/>
                          <a:pt x="2201" y="2115"/>
                        </a:cubicBezTo>
                        <a:cubicBezTo>
                          <a:pt x="2201" y="2113"/>
                          <a:pt x="2223" y="2101"/>
                          <a:pt x="2229" y="2091"/>
                        </a:cubicBezTo>
                        <a:cubicBezTo>
                          <a:pt x="2235" y="2081"/>
                          <a:pt x="2238" y="2052"/>
                          <a:pt x="2237" y="2041"/>
                        </a:cubicBezTo>
                        <a:cubicBezTo>
                          <a:pt x="2235" y="2030"/>
                          <a:pt x="2216" y="2014"/>
                          <a:pt x="2215" y="2012"/>
                        </a:cubicBezTo>
                        <a:cubicBezTo>
                          <a:pt x="2213" y="2010"/>
                          <a:pt x="2193" y="1946"/>
                          <a:pt x="2208" y="1926"/>
                        </a:cubicBezTo>
                        <a:cubicBezTo>
                          <a:pt x="2223" y="1907"/>
                          <a:pt x="2233" y="1893"/>
                          <a:pt x="2243" y="1889"/>
                        </a:cubicBezTo>
                        <a:cubicBezTo>
                          <a:pt x="2253" y="1885"/>
                          <a:pt x="2266" y="1881"/>
                          <a:pt x="2282" y="1870"/>
                        </a:cubicBezTo>
                        <a:cubicBezTo>
                          <a:pt x="2298" y="1860"/>
                          <a:pt x="2296" y="1846"/>
                          <a:pt x="2306" y="1828"/>
                        </a:cubicBezTo>
                        <a:cubicBezTo>
                          <a:pt x="2316" y="1811"/>
                          <a:pt x="2331" y="1797"/>
                          <a:pt x="2331" y="1789"/>
                        </a:cubicBezTo>
                        <a:cubicBezTo>
                          <a:pt x="2331" y="1781"/>
                          <a:pt x="2338" y="1763"/>
                          <a:pt x="2348" y="1750"/>
                        </a:cubicBezTo>
                        <a:cubicBezTo>
                          <a:pt x="2358" y="1738"/>
                          <a:pt x="2375" y="1724"/>
                          <a:pt x="2382" y="1718"/>
                        </a:cubicBezTo>
                        <a:cubicBezTo>
                          <a:pt x="2389" y="1713"/>
                          <a:pt x="2405" y="1693"/>
                          <a:pt x="2405" y="1684"/>
                        </a:cubicBezTo>
                        <a:cubicBezTo>
                          <a:pt x="2405" y="1676"/>
                          <a:pt x="2393" y="1660"/>
                          <a:pt x="2393" y="1660"/>
                        </a:cubicBezTo>
                        <a:cubicBezTo>
                          <a:pt x="2393" y="1660"/>
                          <a:pt x="2393" y="1634"/>
                          <a:pt x="2388" y="1631"/>
                        </a:cubicBezTo>
                        <a:cubicBezTo>
                          <a:pt x="2383" y="1628"/>
                          <a:pt x="2370" y="1622"/>
                          <a:pt x="2365" y="1605"/>
                        </a:cubicBezTo>
                        <a:cubicBezTo>
                          <a:pt x="2361" y="1588"/>
                          <a:pt x="2351" y="1570"/>
                          <a:pt x="2341" y="1568"/>
                        </a:cubicBezTo>
                        <a:cubicBezTo>
                          <a:pt x="2332" y="1567"/>
                          <a:pt x="2314" y="1564"/>
                          <a:pt x="2314" y="1564"/>
                        </a:cubicBezTo>
                        <a:cubicBezTo>
                          <a:pt x="2314" y="1564"/>
                          <a:pt x="2275" y="1536"/>
                          <a:pt x="2287" y="1517"/>
                        </a:cubicBezTo>
                        <a:cubicBezTo>
                          <a:pt x="2298" y="1498"/>
                          <a:pt x="2289" y="1486"/>
                          <a:pt x="2303" y="1474"/>
                        </a:cubicBezTo>
                        <a:cubicBezTo>
                          <a:pt x="2317" y="1461"/>
                          <a:pt x="2330" y="1453"/>
                          <a:pt x="2333" y="1444"/>
                        </a:cubicBezTo>
                        <a:cubicBezTo>
                          <a:pt x="2335" y="1434"/>
                          <a:pt x="2336" y="1409"/>
                          <a:pt x="2336" y="1409"/>
                        </a:cubicBezTo>
                        <a:cubicBezTo>
                          <a:pt x="2336" y="1409"/>
                          <a:pt x="2321" y="1225"/>
                          <a:pt x="2342" y="1195"/>
                        </a:cubicBezTo>
                        <a:cubicBezTo>
                          <a:pt x="2363" y="1165"/>
                          <a:pt x="2376" y="1134"/>
                          <a:pt x="2375" y="1121"/>
                        </a:cubicBezTo>
                        <a:cubicBezTo>
                          <a:pt x="2375" y="1108"/>
                          <a:pt x="2383" y="980"/>
                          <a:pt x="2379" y="964"/>
                        </a:cubicBezTo>
                        <a:cubicBezTo>
                          <a:pt x="2375" y="949"/>
                          <a:pt x="2339" y="882"/>
                          <a:pt x="2349" y="865"/>
                        </a:cubicBezTo>
                        <a:cubicBezTo>
                          <a:pt x="2359" y="848"/>
                          <a:pt x="2456" y="797"/>
                          <a:pt x="2463" y="782"/>
                        </a:cubicBezTo>
                        <a:cubicBezTo>
                          <a:pt x="2471" y="768"/>
                          <a:pt x="2487" y="736"/>
                          <a:pt x="2489" y="734"/>
                        </a:cubicBezTo>
                        <a:cubicBezTo>
                          <a:pt x="2492" y="731"/>
                          <a:pt x="2496" y="706"/>
                          <a:pt x="2516" y="690"/>
                        </a:cubicBezTo>
                        <a:cubicBezTo>
                          <a:pt x="2536" y="674"/>
                          <a:pt x="2541" y="672"/>
                          <a:pt x="2543" y="664"/>
                        </a:cubicBezTo>
                        <a:cubicBezTo>
                          <a:pt x="2544" y="656"/>
                          <a:pt x="2535" y="608"/>
                          <a:pt x="2528" y="596"/>
                        </a:cubicBezTo>
                        <a:cubicBezTo>
                          <a:pt x="2521" y="585"/>
                          <a:pt x="2488" y="553"/>
                          <a:pt x="2474" y="542"/>
                        </a:cubicBezTo>
                        <a:cubicBezTo>
                          <a:pt x="2460" y="530"/>
                          <a:pt x="2415" y="475"/>
                          <a:pt x="2425" y="456"/>
                        </a:cubicBezTo>
                        <a:cubicBezTo>
                          <a:pt x="2435" y="436"/>
                          <a:pt x="2475" y="362"/>
                          <a:pt x="2475" y="362"/>
                        </a:cubicBezTo>
                        <a:cubicBezTo>
                          <a:pt x="2475" y="362"/>
                          <a:pt x="2476" y="302"/>
                          <a:pt x="2476" y="277"/>
                        </a:cubicBezTo>
                        <a:cubicBezTo>
                          <a:pt x="2441" y="270"/>
                          <a:pt x="2410" y="255"/>
                          <a:pt x="2410" y="255"/>
                        </a:cubicBezTo>
                        <a:cubicBezTo>
                          <a:pt x="2410" y="255"/>
                          <a:pt x="2401" y="270"/>
                          <a:pt x="2390" y="276"/>
                        </a:cubicBezTo>
                        <a:cubicBezTo>
                          <a:pt x="2379" y="282"/>
                          <a:pt x="2369" y="237"/>
                          <a:pt x="2365" y="236"/>
                        </a:cubicBezTo>
                        <a:cubicBezTo>
                          <a:pt x="2361" y="235"/>
                          <a:pt x="2349" y="249"/>
                          <a:pt x="2349" y="249"/>
                        </a:cubicBezTo>
                        <a:cubicBezTo>
                          <a:pt x="2325" y="231"/>
                          <a:pt x="2325" y="231"/>
                          <a:pt x="2325" y="231"/>
                        </a:cubicBezTo>
                        <a:cubicBezTo>
                          <a:pt x="2297" y="253"/>
                          <a:pt x="2297" y="253"/>
                          <a:pt x="2297" y="253"/>
                        </a:cubicBezTo>
                        <a:cubicBezTo>
                          <a:pt x="2297" y="253"/>
                          <a:pt x="2272" y="256"/>
                          <a:pt x="2250" y="264"/>
                        </a:cubicBezTo>
                        <a:cubicBezTo>
                          <a:pt x="2228" y="272"/>
                          <a:pt x="2225" y="247"/>
                          <a:pt x="2207" y="246"/>
                        </a:cubicBezTo>
                        <a:cubicBezTo>
                          <a:pt x="2189" y="245"/>
                          <a:pt x="2143" y="198"/>
                          <a:pt x="2122" y="170"/>
                        </a:cubicBezTo>
                        <a:cubicBezTo>
                          <a:pt x="2101" y="142"/>
                          <a:pt x="2036" y="118"/>
                          <a:pt x="2036" y="118"/>
                        </a:cubicBezTo>
                        <a:cubicBezTo>
                          <a:pt x="1994" y="120"/>
                          <a:pt x="1994" y="120"/>
                          <a:pt x="1994" y="120"/>
                        </a:cubicBezTo>
                        <a:cubicBezTo>
                          <a:pt x="1994" y="120"/>
                          <a:pt x="1981" y="121"/>
                          <a:pt x="1973" y="109"/>
                        </a:cubicBezTo>
                        <a:cubicBezTo>
                          <a:pt x="1965" y="97"/>
                          <a:pt x="1902" y="112"/>
                          <a:pt x="1874" y="91"/>
                        </a:cubicBezTo>
                        <a:cubicBezTo>
                          <a:pt x="1846" y="70"/>
                          <a:pt x="1814" y="61"/>
                          <a:pt x="1793" y="61"/>
                        </a:cubicBezTo>
                        <a:cubicBezTo>
                          <a:pt x="1772" y="61"/>
                          <a:pt x="1748" y="42"/>
                          <a:pt x="1737" y="32"/>
                        </a:cubicBezTo>
                        <a:cubicBezTo>
                          <a:pt x="1726" y="22"/>
                          <a:pt x="1670" y="30"/>
                          <a:pt x="1617" y="15"/>
                        </a:cubicBezTo>
                        <a:cubicBezTo>
                          <a:pt x="1564" y="0"/>
                          <a:pt x="1173" y="8"/>
                          <a:pt x="1173" y="8"/>
                        </a:cubicBezTo>
                        <a:cubicBezTo>
                          <a:pt x="975" y="24"/>
                          <a:pt x="975" y="24"/>
                          <a:pt x="975" y="24"/>
                        </a:cubicBezTo>
                        <a:cubicBezTo>
                          <a:pt x="975" y="24"/>
                          <a:pt x="922" y="37"/>
                          <a:pt x="892" y="48"/>
                        </a:cubicBezTo>
                        <a:cubicBezTo>
                          <a:pt x="862" y="59"/>
                          <a:pt x="821" y="74"/>
                          <a:pt x="791" y="84"/>
                        </a:cubicBezTo>
                        <a:cubicBezTo>
                          <a:pt x="761" y="94"/>
                          <a:pt x="551" y="106"/>
                          <a:pt x="551" y="106"/>
                        </a:cubicBezTo>
                        <a:cubicBezTo>
                          <a:pt x="551" y="106"/>
                          <a:pt x="536" y="112"/>
                          <a:pt x="515" y="124"/>
                        </a:cubicBezTo>
                        <a:cubicBezTo>
                          <a:pt x="494" y="136"/>
                          <a:pt x="441" y="153"/>
                          <a:pt x="424" y="163"/>
                        </a:cubicBezTo>
                        <a:cubicBezTo>
                          <a:pt x="407" y="173"/>
                          <a:pt x="356" y="210"/>
                          <a:pt x="356" y="210"/>
                        </a:cubicBezTo>
                        <a:cubicBezTo>
                          <a:pt x="356" y="210"/>
                          <a:pt x="322" y="249"/>
                          <a:pt x="306" y="267"/>
                        </a:cubicBezTo>
                        <a:cubicBezTo>
                          <a:pt x="290" y="285"/>
                          <a:pt x="280" y="303"/>
                          <a:pt x="259" y="306"/>
                        </a:cubicBezTo>
                        <a:cubicBezTo>
                          <a:pt x="238" y="309"/>
                          <a:pt x="225" y="352"/>
                          <a:pt x="211" y="366"/>
                        </a:cubicBezTo>
                        <a:cubicBezTo>
                          <a:pt x="197" y="380"/>
                          <a:pt x="182" y="393"/>
                          <a:pt x="166" y="408"/>
                        </a:cubicBezTo>
                        <a:cubicBezTo>
                          <a:pt x="150" y="423"/>
                          <a:pt x="140" y="453"/>
                          <a:pt x="117" y="473"/>
                        </a:cubicBezTo>
                        <a:cubicBezTo>
                          <a:pt x="94" y="493"/>
                          <a:pt x="77" y="513"/>
                          <a:pt x="69" y="518"/>
                        </a:cubicBezTo>
                        <a:cubicBezTo>
                          <a:pt x="66" y="521"/>
                          <a:pt x="35" y="520"/>
                          <a:pt x="0" y="518"/>
                        </a:cubicBezTo>
                        <a:cubicBezTo>
                          <a:pt x="0" y="528"/>
                          <a:pt x="1" y="538"/>
                          <a:pt x="4" y="543"/>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534">
                    <a:extLst>
                      <a:ext uri="{FF2B5EF4-FFF2-40B4-BE49-F238E27FC236}">
                        <a16:creationId xmlns:a16="http://schemas.microsoft.com/office/drawing/2014/main" id="{90134A53-35B3-67A7-B704-D7C07F394D37}"/>
                      </a:ext>
                    </a:extLst>
                  </p:cNvPr>
                  <p:cNvSpPr>
                    <a:spLocks noChangeAspect="1"/>
                  </p:cNvSpPr>
                  <p:nvPr/>
                </p:nvSpPr>
                <p:spPr bwMode="auto">
                  <a:xfrm>
                    <a:off x="5206550" y="4497510"/>
                    <a:ext cx="600164" cy="647589"/>
                  </a:xfrm>
                  <a:custGeom>
                    <a:avLst/>
                    <a:gdLst>
                      <a:gd name="T0" fmla="*/ 1476 w 1535"/>
                      <a:gd name="T1" fmla="*/ 871 h 1660"/>
                      <a:gd name="T2" fmla="*/ 1447 w 1535"/>
                      <a:gd name="T3" fmla="*/ 745 h 1660"/>
                      <a:gd name="T4" fmla="*/ 1454 w 1535"/>
                      <a:gd name="T5" fmla="*/ 669 h 1660"/>
                      <a:gd name="T6" fmla="*/ 1492 w 1535"/>
                      <a:gd name="T7" fmla="*/ 515 h 1660"/>
                      <a:gd name="T8" fmla="*/ 1509 w 1535"/>
                      <a:gd name="T9" fmla="*/ 345 h 1660"/>
                      <a:gd name="T10" fmla="*/ 1371 w 1535"/>
                      <a:gd name="T11" fmla="*/ 283 h 1660"/>
                      <a:gd name="T12" fmla="*/ 1304 w 1535"/>
                      <a:gd name="T13" fmla="*/ 215 h 1660"/>
                      <a:gd name="T14" fmla="*/ 1244 w 1535"/>
                      <a:gd name="T15" fmla="*/ 171 h 1660"/>
                      <a:gd name="T16" fmla="*/ 1181 w 1535"/>
                      <a:gd name="T17" fmla="*/ 165 h 1660"/>
                      <a:gd name="T18" fmla="*/ 1136 w 1535"/>
                      <a:gd name="T19" fmla="*/ 105 h 1660"/>
                      <a:gd name="T20" fmla="*/ 1005 w 1535"/>
                      <a:gd name="T21" fmla="*/ 132 h 1660"/>
                      <a:gd name="T22" fmla="*/ 1018 w 1535"/>
                      <a:gd name="T23" fmla="*/ 62 h 1660"/>
                      <a:gd name="T24" fmla="*/ 990 w 1535"/>
                      <a:gd name="T25" fmla="*/ 47 h 1660"/>
                      <a:gd name="T26" fmla="*/ 968 w 1535"/>
                      <a:gd name="T27" fmla="*/ 5 h 1660"/>
                      <a:gd name="T28" fmla="*/ 922 w 1535"/>
                      <a:gd name="T29" fmla="*/ 19 h 1660"/>
                      <a:gd name="T30" fmla="*/ 855 w 1535"/>
                      <a:gd name="T31" fmla="*/ 74 h 1660"/>
                      <a:gd name="T32" fmla="*/ 879 w 1535"/>
                      <a:gd name="T33" fmla="*/ 151 h 1660"/>
                      <a:gd name="T34" fmla="*/ 866 w 1535"/>
                      <a:gd name="T35" fmla="*/ 232 h 1660"/>
                      <a:gd name="T36" fmla="*/ 824 w 1535"/>
                      <a:gd name="T37" fmla="*/ 271 h 1660"/>
                      <a:gd name="T38" fmla="*/ 766 w 1535"/>
                      <a:gd name="T39" fmla="*/ 437 h 1660"/>
                      <a:gd name="T40" fmla="*/ 702 w 1535"/>
                      <a:gd name="T41" fmla="*/ 533 h 1660"/>
                      <a:gd name="T42" fmla="*/ 678 w 1535"/>
                      <a:gd name="T43" fmla="*/ 657 h 1660"/>
                      <a:gd name="T44" fmla="*/ 640 w 1535"/>
                      <a:gd name="T45" fmla="*/ 745 h 1660"/>
                      <a:gd name="T46" fmla="*/ 539 w 1535"/>
                      <a:gd name="T47" fmla="*/ 763 h 1660"/>
                      <a:gd name="T48" fmla="*/ 462 w 1535"/>
                      <a:gd name="T49" fmla="*/ 724 h 1660"/>
                      <a:gd name="T50" fmla="*/ 474 w 1535"/>
                      <a:gd name="T51" fmla="*/ 653 h 1660"/>
                      <a:gd name="T52" fmla="*/ 223 w 1535"/>
                      <a:gd name="T53" fmla="*/ 630 h 1660"/>
                      <a:gd name="T54" fmla="*/ 167 w 1535"/>
                      <a:gd name="T55" fmla="*/ 709 h 1660"/>
                      <a:gd name="T56" fmla="*/ 101 w 1535"/>
                      <a:gd name="T57" fmla="*/ 841 h 1660"/>
                      <a:gd name="T58" fmla="*/ 127 w 1535"/>
                      <a:gd name="T59" fmla="*/ 918 h 1660"/>
                      <a:gd name="T60" fmla="*/ 115 w 1535"/>
                      <a:gd name="T61" fmla="*/ 998 h 1660"/>
                      <a:gd name="T62" fmla="*/ 72 w 1535"/>
                      <a:gd name="T63" fmla="*/ 1079 h 1660"/>
                      <a:gd name="T64" fmla="*/ 7 w 1535"/>
                      <a:gd name="T65" fmla="*/ 1139 h 1660"/>
                      <a:gd name="T66" fmla="*/ 23 w 1535"/>
                      <a:gd name="T67" fmla="*/ 1219 h 1660"/>
                      <a:gd name="T68" fmla="*/ 89 w 1535"/>
                      <a:gd name="T69" fmla="*/ 1255 h 1660"/>
                      <a:gd name="T70" fmla="*/ 124 w 1535"/>
                      <a:gd name="T71" fmla="*/ 1293 h 1660"/>
                      <a:gd name="T72" fmla="*/ 186 w 1535"/>
                      <a:gd name="T73" fmla="*/ 1371 h 1660"/>
                      <a:gd name="T74" fmla="*/ 197 w 1535"/>
                      <a:gd name="T75" fmla="*/ 1439 h 1660"/>
                      <a:gd name="T76" fmla="*/ 239 w 1535"/>
                      <a:gd name="T77" fmla="*/ 1511 h 1660"/>
                      <a:gd name="T78" fmla="*/ 298 w 1535"/>
                      <a:gd name="T79" fmla="*/ 1470 h 1660"/>
                      <a:gd name="T80" fmla="*/ 287 w 1535"/>
                      <a:gd name="T81" fmla="*/ 1436 h 1660"/>
                      <a:gd name="T82" fmla="*/ 330 w 1535"/>
                      <a:gd name="T83" fmla="*/ 1404 h 1660"/>
                      <a:gd name="T84" fmla="*/ 389 w 1535"/>
                      <a:gd name="T85" fmla="*/ 1411 h 1660"/>
                      <a:gd name="T86" fmla="*/ 442 w 1535"/>
                      <a:gd name="T87" fmla="*/ 1410 h 1660"/>
                      <a:gd name="T88" fmla="*/ 502 w 1535"/>
                      <a:gd name="T89" fmla="*/ 1418 h 1660"/>
                      <a:gd name="T90" fmla="*/ 599 w 1535"/>
                      <a:gd name="T91" fmla="*/ 1384 h 1660"/>
                      <a:gd name="T92" fmla="*/ 668 w 1535"/>
                      <a:gd name="T93" fmla="*/ 1436 h 1660"/>
                      <a:gd name="T94" fmla="*/ 744 w 1535"/>
                      <a:gd name="T95" fmla="*/ 1478 h 1660"/>
                      <a:gd name="T96" fmla="*/ 775 w 1535"/>
                      <a:gd name="T97" fmla="*/ 1603 h 1660"/>
                      <a:gd name="T98" fmla="*/ 833 w 1535"/>
                      <a:gd name="T99" fmla="*/ 1659 h 1660"/>
                      <a:gd name="T100" fmla="*/ 918 w 1535"/>
                      <a:gd name="T101" fmla="*/ 1623 h 1660"/>
                      <a:gd name="T102" fmla="*/ 969 w 1535"/>
                      <a:gd name="T103" fmla="*/ 1606 h 1660"/>
                      <a:gd name="T104" fmla="*/ 1038 w 1535"/>
                      <a:gd name="T105" fmla="*/ 1546 h 1660"/>
                      <a:gd name="T106" fmla="*/ 1112 w 1535"/>
                      <a:gd name="T107" fmla="*/ 1418 h 1660"/>
                      <a:gd name="T108" fmla="*/ 1015 w 1535"/>
                      <a:gd name="T109" fmla="*/ 1333 h 1660"/>
                      <a:gd name="T110" fmla="*/ 976 w 1535"/>
                      <a:gd name="T111" fmla="*/ 1212 h 1660"/>
                      <a:gd name="T112" fmla="*/ 1027 w 1535"/>
                      <a:gd name="T113" fmla="*/ 1113 h 1660"/>
                      <a:gd name="T114" fmla="*/ 1099 w 1535"/>
                      <a:gd name="T115" fmla="*/ 1136 h 1660"/>
                      <a:gd name="T116" fmla="*/ 1221 w 1535"/>
                      <a:gd name="T117" fmla="*/ 1072 h 1660"/>
                      <a:gd name="T118" fmla="*/ 1325 w 1535"/>
                      <a:gd name="T119" fmla="*/ 1018 h 1660"/>
                      <a:gd name="T120" fmla="*/ 1466 w 1535"/>
                      <a:gd name="T121" fmla="*/ 98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660">
                        <a:moveTo>
                          <a:pt x="1477" y="960"/>
                        </a:moveTo>
                        <a:cubicBezTo>
                          <a:pt x="1477" y="960"/>
                          <a:pt x="1477" y="951"/>
                          <a:pt x="1477" y="939"/>
                        </a:cubicBezTo>
                        <a:cubicBezTo>
                          <a:pt x="1477" y="913"/>
                          <a:pt x="1476" y="873"/>
                          <a:pt x="1476" y="871"/>
                        </a:cubicBezTo>
                        <a:cubicBezTo>
                          <a:pt x="1476" y="869"/>
                          <a:pt x="1466" y="866"/>
                          <a:pt x="1464" y="857"/>
                        </a:cubicBezTo>
                        <a:cubicBezTo>
                          <a:pt x="1462" y="848"/>
                          <a:pt x="1453" y="798"/>
                          <a:pt x="1447" y="788"/>
                        </a:cubicBezTo>
                        <a:cubicBezTo>
                          <a:pt x="1441" y="779"/>
                          <a:pt x="1447" y="745"/>
                          <a:pt x="1447" y="745"/>
                        </a:cubicBezTo>
                        <a:cubicBezTo>
                          <a:pt x="1447" y="745"/>
                          <a:pt x="1450" y="735"/>
                          <a:pt x="1452" y="726"/>
                        </a:cubicBezTo>
                        <a:cubicBezTo>
                          <a:pt x="1454" y="718"/>
                          <a:pt x="1448" y="707"/>
                          <a:pt x="1445" y="701"/>
                        </a:cubicBezTo>
                        <a:cubicBezTo>
                          <a:pt x="1441" y="695"/>
                          <a:pt x="1449" y="680"/>
                          <a:pt x="1454" y="669"/>
                        </a:cubicBezTo>
                        <a:cubicBezTo>
                          <a:pt x="1458" y="659"/>
                          <a:pt x="1486" y="593"/>
                          <a:pt x="1487" y="589"/>
                        </a:cubicBezTo>
                        <a:cubicBezTo>
                          <a:pt x="1487" y="585"/>
                          <a:pt x="1496" y="576"/>
                          <a:pt x="1496" y="576"/>
                        </a:cubicBezTo>
                        <a:cubicBezTo>
                          <a:pt x="1496" y="576"/>
                          <a:pt x="1492" y="524"/>
                          <a:pt x="1492" y="515"/>
                        </a:cubicBezTo>
                        <a:cubicBezTo>
                          <a:pt x="1492" y="505"/>
                          <a:pt x="1496" y="508"/>
                          <a:pt x="1502" y="496"/>
                        </a:cubicBezTo>
                        <a:cubicBezTo>
                          <a:pt x="1509" y="484"/>
                          <a:pt x="1526" y="402"/>
                          <a:pt x="1530" y="392"/>
                        </a:cubicBezTo>
                        <a:cubicBezTo>
                          <a:pt x="1535" y="383"/>
                          <a:pt x="1518" y="355"/>
                          <a:pt x="1509" y="345"/>
                        </a:cubicBezTo>
                        <a:cubicBezTo>
                          <a:pt x="1501" y="335"/>
                          <a:pt x="1497" y="304"/>
                          <a:pt x="1493" y="290"/>
                        </a:cubicBezTo>
                        <a:cubicBezTo>
                          <a:pt x="1490" y="276"/>
                          <a:pt x="1462" y="262"/>
                          <a:pt x="1448" y="262"/>
                        </a:cubicBezTo>
                        <a:cubicBezTo>
                          <a:pt x="1434" y="262"/>
                          <a:pt x="1373" y="283"/>
                          <a:pt x="1371" y="283"/>
                        </a:cubicBezTo>
                        <a:cubicBezTo>
                          <a:pt x="1369" y="284"/>
                          <a:pt x="1346" y="287"/>
                          <a:pt x="1337" y="286"/>
                        </a:cubicBezTo>
                        <a:cubicBezTo>
                          <a:pt x="1328" y="285"/>
                          <a:pt x="1324" y="264"/>
                          <a:pt x="1322" y="259"/>
                        </a:cubicBezTo>
                        <a:cubicBezTo>
                          <a:pt x="1319" y="255"/>
                          <a:pt x="1306" y="218"/>
                          <a:pt x="1304" y="215"/>
                        </a:cubicBezTo>
                        <a:cubicBezTo>
                          <a:pt x="1302" y="213"/>
                          <a:pt x="1278" y="221"/>
                          <a:pt x="1261" y="217"/>
                        </a:cubicBezTo>
                        <a:cubicBezTo>
                          <a:pt x="1243" y="212"/>
                          <a:pt x="1261" y="186"/>
                          <a:pt x="1261" y="184"/>
                        </a:cubicBezTo>
                        <a:cubicBezTo>
                          <a:pt x="1261" y="181"/>
                          <a:pt x="1252" y="172"/>
                          <a:pt x="1244" y="171"/>
                        </a:cubicBezTo>
                        <a:cubicBezTo>
                          <a:pt x="1236" y="169"/>
                          <a:pt x="1234" y="182"/>
                          <a:pt x="1226" y="182"/>
                        </a:cubicBezTo>
                        <a:cubicBezTo>
                          <a:pt x="1219" y="183"/>
                          <a:pt x="1208" y="174"/>
                          <a:pt x="1205" y="170"/>
                        </a:cubicBezTo>
                        <a:cubicBezTo>
                          <a:pt x="1202" y="167"/>
                          <a:pt x="1190" y="167"/>
                          <a:pt x="1181" y="165"/>
                        </a:cubicBezTo>
                        <a:cubicBezTo>
                          <a:pt x="1172" y="163"/>
                          <a:pt x="1173" y="139"/>
                          <a:pt x="1172" y="132"/>
                        </a:cubicBezTo>
                        <a:cubicBezTo>
                          <a:pt x="1171" y="125"/>
                          <a:pt x="1165" y="125"/>
                          <a:pt x="1160" y="123"/>
                        </a:cubicBezTo>
                        <a:cubicBezTo>
                          <a:pt x="1155" y="120"/>
                          <a:pt x="1138" y="107"/>
                          <a:pt x="1136" y="105"/>
                        </a:cubicBezTo>
                        <a:cubicBezTo>
                          <a:pt x="1134" y="103"/>
                          <a:pt x="1118" y="108"/>
                          <a:pt x="1107" y="105"/>
                        </a:cubicBezTo>
                        <a:cubicBezTo>
                          <a:pt x="1097" y="101"/>
                          <a:pt x="1073" y="127"/>
                          <a:pt x="1070" y="130"/>
                        </a:cubicBezTo>
                        <a:cubicBezTo>
                          <a:pt x="1068" y="132"/>
                          <a:pt x="1012" y="132"/>
                          <a:pt x="1005" y="132"/>
                        </a:cubicBezTo>
                        <a:cubicBezTo>
                          <a:pt x="999" y="132"/>
                          <a:pt x="1000" y="89"/>
                          <a:pt x="1000" y="84"/>
                        </a:cubicBezTo>
                        <a:cubicBezTo>
                          <a:pt x="1000" y="79"/>
                          <a:pt x="1006" y="85"/>
                          <a:pt x="1007" y="83"/>
                        </a:cubicBezTo>
                        <a:cubicBezTo>
                          <a:pt x="1009" y="81"/>
                          <a:pt x="1018" y="64"/>
                          <a:pt x="1018" y="62"/>
                        </a:cubicBezTo>
                        <a:cubicBezTo>
                          <a:pt x="1018" y="60"/>
                          <a:pt x="1026" y="50"/>
                          <a:pt x="1032" y="47"/>
                        </a:cubicBezTo>
                        <a:cubicBezTo>
                          <a:pt x="1038" y="44"/>
                          <a:pt x="1018" y="39"/>
                          <a:pt x="1010" y="36"/>
                        </a:cubicBezTo>
                        <a:cubicBezTo>
                          <a:pt x="1002" y="34"/>
                          <a:pt x="993" y="47"/>
                          <a:pt x="990" y="47"/>
                        </a:cubicBezTo>
                        <a:cubicBezTo>
                          <a:pt x="987" y="47"/>
                          <a:pt x="976" y="38"/>
                          <a:pt x="976" y="38"/>
                        </a:cubicBezTo>
                        <a:cubicBezTo>
                          <a:pt x="976" y="38"/>
                          <a:pt x="976" y="26"/>
                          <a:pt x="976" y="19"/>
                        </a:cubicBezTo>
                        <a:cubicBezTo>
                          <a:pt x="977" y="12"/>
                          <a:pt x="973" y="9"/>
                          <a:pt x="968" y="5"/>
                        </a:cubicBezTo>
                        <a:cubicBezTo>
                          <a:pt x="963" y="0"/>
                          <a:pt x="957" y="4"/>
                          <a:pt x="952" y="7"/>
                        </a:cubicBezTo>
                        <a:cubicBezTo>
                          <a:pt x="947" y="10"/>
                          <a:pt x="929" y="22"/>
                          <a:pt x="927" y="22"/>
                        </a:cubicBezTo>
                        <a:cubicBezTo>
                          <a:pt x="926" y="22"/>
                          <a:pt x="924" y="20"/>
                          <a:pt x="922" y="19"/>
                        </a:cubicBezTo>
                        <a:cubicBezTo>
                          <a:pt x="919" y="24"/>
                          <a:pt x="915" y="30"/>
                          <a:pt x="914" y="32"/>
                        </a:cubicBezTo>
                        <a:cubicBezTo>
                          <a:pt x="910" y="36"/>
                          <a:pt x="899" y="60"/>
                          <a:pt x="895" y="62"/>
                        </a:cubicBezTo>
                        <a:cubicBezTo>
                          <a:pt x="891" y="65"/>
                          <a:pt x="865" y="66"/>
                          <a:pt x="855" y="74"/>
                        </a:cubicBezTo>
                        <a:cubicBezTo>
                          <a:pt x="844" y="81"/>
                          <a:pt x="847" y="102"/>
                          <a:pt x="847" y="102"/>
                        </a:cubicBezTo>
                        <a:cubicBezTo>
                          <a:pt x="847" y="102"/>
                          <a:pt x="865" y="117"/>
                          <a:pt x="871" y="124"/>
                        </a:cubicBezTo>
                        <a:cubicBezTo>
                          <a:pt x="877" y="132"/>
                          <a:pt x="881" y="148"/>
                          <a:pt x="879" y="151"/>
                        </a:cubicBezTo>
                        <a:cubicBezTo>
                          <a:pt x="877" y="153"/>
                          <a:pt x="868" y="174"/>
                          <a:pt x="866" y="181"/>
                        </a:cubicBezTo>
                        <a:cubicBezTo>
                          <a:pt x="864" y="189"/>
                          <a:pt x="869" y="191"/>
                          <a:pt x="872" y="197"/>
                        </a:cubicBezTo>
                        <a:cubicBezTo>
                          <a:pt x="874" y="202"/>
                          <a:pt x="867" y="232"/>
                          <a:pt x="866" y="232"/>
                        </a:cubicBezTo>
                        <a:cubicBezTo>
                          <a:pt x="865" y="233"/>
                          <a:pt x="842" y="232"/>
                          <a:pt x="841" y="232"/>
                        </a:cubicBezTo>
                        <a:cubicBezTo>
                          <a:pt x="839" y="232"/>
                          <a:pt x="837" y="234"/>
                          <a:pt x="829" y="241"/>
                        </a:cubicBezTo>
                        <a:cubicBezTo>
                          <a:pt x="821" y="247"/>
                          <a:pt x="826" y="254"/>
                          <a:pt x="824" y="271"/>
                        </a:cubicBezTo>
                        <a:cubicBezTo>
                          <a:pt x="822" y="288"/>
                          <a:pt x="809" y="293"/>
                          <a:pt x="805" y="310"/>
                        </a:cubicBezTo>
                        <a:cubicBezTo>
                          <a:pt x="802" y="327"/>
                          <a:pt x="791" y="365"/>
                          <a:pt x="789" y="387"/>
                        </a:cubicBezTo>
                        <a:cubicBezTo>
                          <a:pt x="787" y="410"/>
                          <a:pt x="772" y="429"/>
                          <a:pt x="766" y="437"/>
                        </a:cubicBezTo>
                        <a:cubicBezTo>
                          <a:pt x="760" y="445"/>
                          <a:pt x="756" y="469"/>
                          <a:pt x="753" y="474"/>
                        </a:cubicBezTo>
                        <a:cubicBezTo>
                          <a:pt x="749" y="480"/>
                          <a:pt x="736" y="484"/>
                          <a:pt x="734" y="484"/>
                        </a:cubicBezTo>
                        <a:cubicBezTo>
                          <a:pt x="731" y="485"/>
                          <a:pt x="705" y="525"/>
                          <a:pt x="702" y="533"/>
                        </a:cubicBezTo>
                        <a:cubicBezTo>
                          <a:pt x="700" y="542"/>
                          <a:pt x="709" y="559"/>
                          <a:pt x="713" y="583"/>
                        </a:cubicBezTo>
                        <a:cubicBezTo>
                          <a:pt x="718" y="607"/>
                          <a:pt x="681" y="631"/>
                          <a:pt x="681" y="634"/>
                        </a:cubicBezTo>
                        <a:cubicBezTo>
                          <a:pt x="680" y="637"/>
                          <a:pt x="678" y="653"/>
                          <a:pt x="678" y="657"/>
                        </a:cubicBezTo>
                        <a:cubicBezTo>
                          <a:pt x="678" y="660"/>
                          <a:pt x="667" y="665"/>
                          <a:pt x="663" y="667"/>
                        </a:cubicBezTo>
                        <a:cubicBezTo>
                          <a:pt x="660" y="670"/>
                          <a:pt x="661" y="671"/>
                          <a:pt x="660" y="687"/>
                        </a:cubicBezTo>
                        <a:cubicBezTo>
                          <a:pt x="659" y="704"/>
                          <a:pt x="646" y="740"/>
                          <a:pt x="640" y="745"/>
                        </a:cubicBezTo>
                        <a:cubicBezTo>
                          <a:pt x="634" y="751"/>
                          <a:pt x="616" y="774"/>
                          <a:pt x="600" y="771"/>
                        </a:cubicBezTo>
                        <a:cubicBezTo>
                          <a:pt x="584" y="769"/>
                          <a:pt x="588" y="749"/>
                          <a:pt x="573" y="745"/>
                        </a:cubicBezTo>
                        <a:cubicBezTo>
                          <a:pt x="558" y="741"/>
                          <a:pt x="547" y="756"/>
                          <a:pt x="539" y="763"/>
                        </a:cubicBezTo>
                        <a:cubicBezTo>
                          <a:pt x="531" y="770"/>
                          <a:pt x="513" y="783"/>
                          <a:pt x="508" y="785"/>
                        </a:cubicBezTo>
                        <a:cubicBezTo>
                          <a:pt x="503" y="787"/>
                          <a:pt x="489" y="781"/>
                          <a:pt x="483" y="773"/>
                        </a:cubicBezTo>
                        <a:cubicBezTo>
                          <a:pt x="478" y="765"/>
                          <a:pt x="475" y="736"/>
                          <a:pt x="462" y="724"/>
                        </a:cubicBezTo>
                        <a:cubicBezTo>
                          <a:pt x="448" y="712"/>
                          <a:pt x="458" y="686"/>
                          <a:pt x="458" y="686"/>
                        </a:cubicBezTo>
                        <a:cubicBezTo>
                          <a:pt x="494" y="686"/>
                          <a:pt x="494" y="686"/>
                          <a:pt x="494" y="686"/>
                        </a:cubicBezTo>
                        <a:cubicBezTo>
                          <a:pt x="474" y="653"/>
                          <a:pt x="474" y="653"/>
                          <a:pt x="474" y="653"/>
                        </a:cubicBezTo>
                        <a:cubicBezTo>
                          <a:pt x="474" y="653"/>
                          <a:pt x="344" y="655"/>
                          <a:pt x="337" y="655"/>
                        </a:cubicBezTo>
                        <a:cubicBezTo>
                          <a:pt x="330" y="654"/>
                          <a:pt x="269" y="633"/>
                          <a:pt x="250" y="624"/>
                        </a:cubicBezTo>
                        <a:cubicBezTo>
                          <a:pt x="231" y="615"/>
                          <a:pt x="230" y="630"/>
                          <a:pt x="223" y="630"/>
                        </a:cubicBezTo>
                        <a:cubicBezTo>
                          <a:pt x="215" y="631"/>
                          <a:pt x="213" y="647"/>
                          <a:pt x="199" y="662"/>
                        </a:cubicBezTo>
                        <a:cubicBezTo>
                          <a:pt x="186" y="677"/>
                          <a:pt x="185" y="689"/>
                          <a:pt x="185" y="689"/>
                        </a:cubicBezTo>
                        <a:cubicBezTo>
                          <a:pt x="185" y="689"/>
                          <a:pt x="170" y="707"/>
                          <a:pt x="167" y="709"/>
                        </a:cubicBezTo>
                        <a:cubicBezTo>
                          <a:pt x="164" y="712"/>
                          <a:pt x="170" y="729"/>
                          <a:pt x="164" y="741"/>
                        </a:cubicBezTo>
                        <a:cubicBezTo>
                          <a:pt x="159" y="754"/>
                          <a:pt x="131" y="758"/>
                          <a:pt x="119" y="772"/>
                        </a:cubicBezTo>
                        <a:cubicBezTo>
                          <a:pt x="106" y="786"/>
                          <a:pt x="107" y="822"/>
                          <a:pt x="101" y="841"/>
                        </a:cubicBezTo>
                        <a:cubicBezTo>
                          <a:pt x="96" y="860"/>
                          <a:pt x="92" y="887"/>
                          <a:pt x="92" y="887"/>
                        </a:cubicBezTo>
                        <a:cubicBezTo>
                          <a:pt x="92" y="887"/>
                          <a:pt x="107" y="909"/>
                          <a:pt x="109" y="913"/>
                        </a:cubicBezTo>
                        <a:cubicBezTo>
                          <a:pt x="111" y="916"/>
                          <a:pt x="126" y="918"/>
                          <a:pt x="127" y="918"/>
                        </a:cubicBezTo>
                        <a:cubicBezTo>
                          <a:pt x="128" y="918"/>
                          <a:pt x="139" y="932"/>
                          <a:pt x="140" y="934"/>
                        </a:cubicBezTo>
                        <a:cubicBezTo>
                          <a:pt x="142" y="936"/>
                          <a:pt x="126" y="966"/>
                          <a:pt x="117" y="975"/>
                        </a:cubicBezTo>
                        <a:cubicBezTo>
                          <a:pt x="108" y="983"/>
                          <a:pt x="117" y="986"/>
                          <a:pt x="115" y="998"/>
                        </a:cubicBezTo>
                        <a:cubicBezTo>
                          <a:pt x="113" y="1010"/>
                          <a:pt x="82" y="1034"/>
                          <a:pt x="82" y="1034"/>
                        </a:cubicBezTo>
                        <a:cubicBezTo>
                          <a:pt x="82" y="1034"/>
                          <a:pt x="81" y="1073"/>
                          <a:pt x="82" y="1078"/>
                        </a:cubicBezTo>
                        <a:cubicBezTo>
                          <a:pt x="82" y="1083"/>
                          <a:pt x="76" y="1077"/>
                          <a:pt x="72" y="1079"/>
                        </a:cubicBezTo>
                        <a:cubicBezTo>
                          <a:pt x="67" y="1081"/>
                          <a:pt x="54" y="1104"/>
                          <a:pt x="54" y="1104"/>
                        </a:cubicBezTo>
                        <a:cubicBezTo>
                          <a:pt x="13" y="1105"/>
                          <a:pt x="13" y="1105"/>
                          <a:pt x="13" y="1105"/>
                        </a:cubicBezTo>
                        <a:cubicBezTo>
                          <a:pt x="13" y="1105"/>
                          <a:pt x="12" y="1134"/>
                          <a:pt x="7" y="1139"/>
                        </a:cubicBezTo>
                        <a:cubicBezTo>
                          <a:pt x="3" y="1145"/>
                          <a:pt x="1" y="1172"/>
                          <a:pt x="1" y="1180"/>
                        </a:cubicBezTo>
                        <a:cubicBezTo>
                          <a:pt x="0" y="1189"/>
                          <a:pt x="7" y="1197"/>
                          <a:pt x="8" y="1206"/>
                        </a:cubicBezTo>
                        <a:cubicBezTo>
                          <a:pt x="9" y="1216"/>
                          <a:pt x="19" y="1218"/>
                          <a:pt x="23" y="1219"/>
                        </a:cubicBezTo>
                        <a:cubicBezTo>
                          <a:pt x="27" y="1220"/>
                          <a:pt x="32" y="1233"/>
                          <a:pt x="36" y="1237"/>
                        </a:cubicBezTo>
                        <a:cubicBezTo>
                          <a:pt x="40" y="1241"/>
                          <a:pt x="54" y="1238"/>
                          <a:pt x="59" y="1240"/>
                        </a:cubicBezTo>
                        <a:cubicBezTo>
                          <a:pt x="65" y="1243"/>
                          <a:pt x="77" y="1248"/>
                          <a:pt x="89" y="1255"/>
                        </a:cubicBezTo>
                        <a:cubicBezTo>
                          <a:pt x="98" y="1260"/>
                          <a:pt x="102" y="1277"/>
                          <a:pt x="103" y="1283"/>
                        </a:cubicBezTo>
                        <a:cubicBezTo>
                          <a:pt x="104" y="1285"/>
                          <a:pt x="104" y="1286"/>
                          <a:pt x="104" y="1286"/>
                        </a:cubicBezTo>
                        <a:cubicBezTo>
                          <a:pt x="104" y="1286"/>
                          <a:pt x="110" y="1288"/>
                          <a:pt x="124" y="1293"/>
                        </a:cubicBezTo>
                        <a:cubicBezTo>
                          <a:pt x="137" y="1298"/>
                          <a:pt x="148" y="1312"/>
                          <a:pt x="150" y="1320"/>
                        </a:cubicBezTo>
                        <a:cubicBezTo>
                          <a:pt x="152" y="1327"/>
                          <a:pt x="173" y="1347"/>
                          <a:pt x="176" y="1350"/>
                        </a:cubicBezTo>
                        <a:cubicBezTo>
                          <a:pt x="179" y="1353"/>
                          <a:pt x="182" y="1368"/>
                          <a:pt x="186" y="1371"/>
                        </a:cubicBezTo>
                        <a:cubicBezTo>
                          <a:pt x="190" y="1374"/>
                          <a:pt x="202" y="1375"/>
                          <a:pt x="210" y="1381"/>
                        </a:cubicBezTo>
                        <a:cubicBezTo>
                          <a:pt x="218" y="1386"/>
                          <a:pt x="216" y="1411"/>
                          <a:pt x="216" y="1411"/>
                        </a:cubicBezTo>
                        <a:cubicBezTo>
                          <a:pt x="216" y="1411"/>
                          <a:pt x="206" y="1430"/>
                          <a:pt x="197" y="1439"/>
                        </a:cubicBezTo>
                        <a:cubicBezTo>
                          <a:pt x="188" y="1449"/>
                          <a:pt x="213" y="1476"/>
                          <a:pt x="214" y="1481"/>
                        </a:cubicBezTo>
                        <a:cubicBezTo>
                          <a:pt x="214" y="1487"/>
                          <a:pt x="222" y="1512"/>
                          <a:pt x="222" y="1512"/>
                        </a:cubicBezTo>
                        <a:cubicBezTo>
                          <a:pt x="222" y="1512"/>
                          <a:pt x="235" y="1512"/>
                          <a:pt x="239" y="1511"/>
                        </a:cubicBezTo>
                        <a:cubicBezTo>
                          <a:pt x="244" y="1509"/>
                          <a:pt x="249" y="1500"/>
                          <a:pt x="250" y="1495"/>
                        </a:cubicBezTo>
                        <a:cubicBezTo>
                          <a:pt x="250" y="1490"/>
                          <a:pt x="274" y="1471"/>
                          <a:pt x="274" y="1471"/>
                        </a:cubicBezTo>
                        <a:cubicBezTo>
                          <a:pt x="274" y="1471"/>
                          <a:pt x="289" y="1471"/>
                          <a:pt x="298" y="1470"/>
                        </a:cubicBezTo>
                        <a:cubicBezTo>
                          <a:pt x="307" y="1468"/>
                          <a:pt x="311" y="1455"/>
                          <a:pt x="311" y="1455"/>
                        </a:cubicBezTo>
                        <a:cubicBezTo>
                          <a:pt x="303" y="1438"/>
                          <a:pt x="303" y="1438"/>
                          <a:pt x="303" y="1438"/>
                        </a:cubicBezTo>
                        <a:cubicBezTo>
                          <a:pt x="287" y="1436"/>
                          <a:pt x="287" y="1436"/>
                          <a:pt x="287" y="1436"/>
                        </a:cubicBezTo>
                        <a:cubicBezTo>
                          <a:pt x="284" y="1411"/>
                          <a:pt x="284" y="1411"/>
                          <a:pt x="284" y="1411"/>
                        </a:cubicBezTo>
                        <a:cubicBezTo>
                          <a:pt x="312" y="1411"/>
                          <a:pt x="312" y="1411"/>
                          <a:pt x="312" y="1411"/>
                        </a:cubicBezTo>
                        <a:cubicBezTo>
                          <a:pt x="330" y="1404"/>
                          <a:pt x="330" y="1404"/>
                          <a:pt x="330" y="1404"/>
                        </a:cubicBezTo>
                        <a:cubicBezTo>
                          <a:pt x="365" y="1421"/>
                          <a:pt x="365" y="1421"/>
                          <a:pt x="365" y="1421"/>
                        </a:cubicBezTo>
                        <a:cubicBezTo>
                          <a:pt x="371" y="1412"/>
                          <a:pt x="371" y="1412"/>
                          <a:pt x="371" y="1412"/>
                        </a:cubicBezTo>
                        <a:cubicBezTo>
                          <a:pt x="389" y="1411"/>
                          <a:pt x="389" y="1411"/>
                          <a:pt x="389" y="1411"/>
                        </a:cubicBezTo>
                        <a:cubicBezTo>
                          <a:pt x="399" y="1421"/>
                          <a:pt x="399" y="1421"/>
                          <a:pt x="399" y="1421"/>
                        </a:cubicBezTo>
                        <a:cubicBezTo>
                          <a:pt x="399" y="1421"/>
                          <a:pt x="412" y="1411"/>
                          <a:pt x="416" y="1410"/>
                        </a:cubicBezTo>
                        <a:cubicBezTo>
                          <a:pt x="419" y="1408"/>
                          <a:pt x="432" y="1410"/>
                          <a:pt x="442" y="1410"/>
                        </a:cubicBezTo>
                        <a:cubicBezTo>
                          <a:pt x="452" y="1410"/>
                          <a:pt x="451" y="1426"/>
                          <a:pt x="454" y="1434"/>
                        </a:cubicBezTo>
                        <a:cubicBezTo>
                          <a:pt x="456" y="1442"/>
                          <a:pt x="478" y="1439"/>
                          <a:pt x="478" y="1439"/>
                        </a:cubicBezTo>
                        <a:cubicBezTo>
                          <a:pt x="478" y="1439"/>
                          <a:pt x="498" y="1421"/>
                          <a:pt x="502" y="1418"/>
                        </a:cubicBezTo>
                        <a:cubicBezTo>
                          <a:pt x="505" y="1415"/>
                          <a:pt x="515" y="1415"/>
                          <a:pt x="523" y="1412"/>
                        </a:cubicBezTo>
                        <a:cubicBezTo>
                          <a:pt x="531" y="1410"/>
                          <a:pt x="576" y="1385"/>
                          <a:pt x="576" y="1385"/>
                        </a:cubicBezTo>
                        <a:cubicBezTo>
                          <a:pt x="599" y="1384"/>
                          <a:pt x="599" y="1384"/>
                          <a:pt x="599" y="1384"/>
                        </a:cubicBezTo>
                        <a:cubicBezTo>
                          <a:pt x="599" y="1384"/>
                          <a:pt x="606" y="1397"/>
                          <a:pt x="607" y="1401"/>
                        </a:cubicBezTo>
                        <a:cubicBezTo>
                          <a:pt x="608" y="1405"/>
                          <a:pt x="617" y="1407"/>
                          <a:pt x="628" y="1409"/>
                        </a:cubicBezTo>
                        <a:cubicBezTo>
                          <a:pt x="638" y="1410"/>
                          <a:pt x="664" y="1435"/>
                          <a:pt x="668" y="1436"/>
                        </a:cubicBezTo>
                        <a:cubicBezTo>
                          <a:pt x="673" y="1437"/>
                          <a:pt x="676" y="1437"/>
                          <a:pt x="685" y="1437"/>
                        </a:cubicBezTo>
                        <a:cubicBezTo>
                          <a:pt x="693" y="1437"/>
                          <a:pt x="718" y="1463"/>
                          <a:pt x="718" y="1466"/>
                        </a:cubicBezTo>
                        <a:cubicBezTo>
                          <a:pt x="718" y="1469"/>
                          <a:pt x="739" y="1478"/>
                          <a:pt x="744" y="1478"/>
                        </a:cubicBezTo>
                        <a:cubicBezTo>
                          <a:pt x="750" y="1478"/>
                          <a:pt x="741" y="1497"/>
                          <a:pt x="741" y="1497"/>
                        </a:cubicBezTo>
                        <a:cubicBezTo>
                          <a:pt x="741" y="1497"/>
                          <a:pt x="808" y="1529"/>
                          <a:pt x="814" y="1548"/>
                        </a:cubicBezTo>
                        <a:cubicBezTo>
                          <a:pt x="819" y="1567"/>
                          <a:pt x="781" y="1594"/>
                          <a:pt x="775" y="1603"/>
                        </a:cubicBezTo>
                        <a:cubicBezTo>
                          <a:pt x="769" y="1612"/>
                          <a:pt x="787" y="1614"/>
                          <a:pt x="793" y="1618"/>
                        </a:cubicBezTo>
                        <a:cubicBezTo>
                          <a:pt x="799" y="1622"/>
                          <a:pt x="796" y="1634"/>
                          <a:pt x="797" y="1642"/>
                        </a:cubicBezTo>
                        <a:cubicBezTo>
                          <a:pt x="798" y="1651"/>
                          <a:pt x="832" y="1660"/>
                          <a:pt x="833" y="1659"/>
                        </a:cubicBezTo>
                        <a:cubicBezTo>
                          <a:pt x="835" y="1659"/>
                          <a:pt x="861" y="1648"/>
                          <a:pt x="866" y="1646"/>
                        </a:cubicBezTo>
                        <a:cubicBezTo>
                          <a:pt x="871" y="1644"/>
                          <a:pt x="885" y="1637"/>
                          <a:pt x="898" y="1636"/>
                        </a:cubicBezTo>
                        <a:cubicBezTo>
                          <a:pt x="912" y="1634"/>
                          <a:pt x="917" y="1623"/>
                          <a:pt x="918" y="1623"/>
                        </a:cubicBezTo>
                        <a:cubicBezTo>
                          <a:pt x="920" y="1623"/>
                          <a:pt x="943" y="1622"/>
                          <a:pt x="943" y="1622"/>
                        </a:cubicBezTo>
                        <a:cubicBezTo>
                          <a:pt x="954" y="1609"/>
                          <a:pt x="954" y="1609"/>
                          <a:pt x="954" y="1609"/>
                        </a:cubicBezTo>
                        <a:cubicBezTo>
                          <a:pt x="969" y="1606"/>
                          <a:pt x="969" y="1606"/>
                          <a:pt x="969" y="1606"/>
                        </a:cubicBezTo>
                        <a:cubicBezTo>
                          <a:pt x="969" y="1606"/>
                          <a:pt x="969" y="1604"/>
                          <a:pt x="982" y="1590"/>
                        </a:cubicBezTo>
                        <a:cubicBezTo>
                          <a:pt x="994" y="1577"/>
                          <a:pt x="1009" y="1549"/>
                          <a:pt x="1011" y="1547"/>
                        </a:cubicBezTo>
                        <a:cubicBezTo>
                          <a:pt x="1012" y="1544"/>
                          <a:pt x="1036" y="1546"/>
                          <a:pt x="1038" y="1546"/>
                        </a:cubicBezTo>
                        <a:cubicBezTo>
                          <a:pt x="1040" y="1546"/>
                          <a:pt x="1048" y="1539"/>
                          <a:pt x="1059" y="1521"/>
                        </a:cubicBezTo>
                        <a:cubicBezTo>
                          <a:pt x="1071" y="1503"/>
                          <a:pt x="1088" y="1465"/>
                          <a:pt x="1089" y="1463"/>
                        </a:cubicBezTo>
                        <a:cubicBezTo>
                          <a:pt x="1090" y="1461"/>
                          <a:pt x="1103" y="1426"/>
                          <a:pt x="1112" y="1418"/>
                        </a:cubicBezTo>
                        <a:cubicBezTo>
                          <a:pt x="1121" y="1410"/>
                          <a:pt x="1103" y="1403"/>
                          <a:pt x="1096" y="1403"/>
                        </a:cubicBezTo>
                        <a:cubicBezTo>
                          <a:pt x="1088" y="1403"/>
                          <a:pt x="1082" y="1400"/>
                          <a:pt x="1068" y="1395"/>
                        </a:cubicBezTo>
                        <a:cubicBezTo>
                          <a:pt x="1055" y="1390"/>
                          <a:pt x="1022" y="1337"/>
                          <a:pt x="1015" y="1333"/>
                        </a:cubicBezTo>
                        <a:cubicBezTo>
                          <a:pt x="1007" y="1329"/>
                          <a:pt x="1005" y="1298"/>
                          <a:pt x="1002" y="1286"/>
                        </a:cubicBezTo>
                        <a:cubicBezTo>
                          <a:pt x="998" y="1275"/>
                          <a:pt x="991" y="1265"/>
                          <a:pt x="994" y="1236"/>
                        </a:cubicBezTo>
                        <a:cubicBezTo>
                          <a:pt x="998" y="1207"/>
                          <a:pt x="987" y="1221"/>
                          <a:pt x="976" y="1212"/>
                        </a:cubicBezTo>
                        <a:cubicBezTo>
                          <a:pt x="965" y="1203"/>
                          <a:pt x="955" y="1209"/>
                          <a:pt x="941" y="1197"/>
                        </a:cubicBezTo>
                        <a:cubicBezTo>
                          <a:pt x="928" y="1185"/>
                          <a:pt x="971" y="1118"/>
                          <a:pt x="971" y="1118"/>
                        </a:cubicBezTo>
                        <a:cubicBezTo>
                          <a:pt x="971" y="1118"/>
                          <a:pt x="1013" y="1112"/>
                          <a:pt x="1027" y="1113"/>
                        </a:cubicBezTo>
                        <a:cubicBezTo>
                          <a:pt x="1042" y="1115"/>
                          <a:pt x="1055" y="1150"/>
                          <a:pt x="1056" y="1156"/>
                        </a:cubicBezTo>
                        <a:cubicBezTo>
                          <a:pt x="1057" y="1161"/>
                          <a:pt x="1064" y="1173"/>
                          <a:pt x="1075" y="1182"/>
                        </a:cubicBezTo>
                        <a:cubicBezTo>
                          <a:pt x="1086" y="1190"/>
                          <a:pt x="1097" y="1138"/>
                          <a:pt x="1099" y="1136"/>
                        </a:cubicBezTo>
                        <a:cubicBezTo>
                          <a:pt x="1102" y="1134"/>
                          <a:pt x="1120" y="1125"/>
                          <a:pt x="1135" y="1114"/>
                        </a:cubicBezTo>
                        <a:cubicBezTo>
                          <a:pt x="1151" y="1103"/>
                          <a:pt x="1156" y="1100"/>
                          <a:pt x="1162" y="1099"/>
                        </a:cubicBezTo>
                        <a:cubicBezTo>
                          <a:pt x="1169" y="1097"/>
                          <a:pt x="1215" y="1075"/>
                          <a:pt x="1221" y="1072"/>
                        </a:cubicBezTo>
                        <a:cubicBezTo>
                          <a:pt x="1228" y="1069"/>
                          <a:pt x="1234" y="1057"/>
                          <a:pt x="1234" y="1057"/>
                        </a:cubicBezTo>
                        <a:cubicBezTo>
                          <a:pt x="1258" y="1057"/>
                          <a:pt x="1258" y="1057"/>
                          <a:pt x="1258" y="1057"/>
                        </a:cubicBezTo>
                        <a:cubicBezTo>
                          <a:pt x="1258" y="1057"/>
                          <a:pt x="1307" y="1022"/>
                          <a:pt x="1325" y="1018"/>
                        </a:cubicBezTo>
                        <a:cubicBezTo>
                          <a:pt x="1342" y="1015"/>
                          <a:pt x="1356" y="993"/>
                          <a:pt x="1356" y="993"/>
                        </a:cubicBezTo>
                        <a:cubicBezTo>
                          <a:pt x="1356" y="993"/>
                          <a:pt x="1426" y="998"/>
                          <a:pt x="1438" y="989"/>
                        </a:cubicBezTo>
                        <a:cubicBezTo>
                          <a:pt x="1445" y="984"/>
                          <a:pt x="1456" y="982"/>
                          <a:pt x="1466" y="980"/>
                        </a:cubicBezTo>
                        <a:cubicBezTo>
                          <a:pt x="1474" y="979"/>
                          <a:pt x="1481" y="978"/>
                          <a:pt x="1485" y="976"/>
                        </a:cubicBezTo>
                        <a:cubicBezTo>
                          <a:pt x="1494" y="972"/>
                          <a:pt x="1477" y="960"/>
                          <a:pt x="1477" y="960"/>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535">
                    <a:extLst>
                      <a:ext uri="{FF2B5EF4-FFF2-40B4-BE49-F238E27FC236}">
                        <a16:creationId xmlns:a16="http://schemas.microsoft.com/office/drawing/2014/main" id="{A2BB7501-E4C8-3B28-785B-F5BAF2FF51A9}"/>
                      </a:ext>
                    </a:extLst>
                  </p:cNvPr>
                  <p:cNvSpPr>
                    <a:spLocks noChangeAspect="1"/>
                  </p:cNvSpPr>
                  <p:nvPr/>
                </p:nvSpPr>
                <p:spPr bwMode="auto">
                  <a:xfrm>
                    <a:off x="5760053" y="4788809"/>
                    <a:ext cx="261149" cy="353121"/>
                  </a:xfrm>
                  <a:custGeom>
                    <a:avLst/>
                    <a:gdLst>
                      <a:gd name="T0" fmla="*/ 125 w 665"/>
                      <a:gd name="T1" fmla="*/ 871 h 903"/>
                      <a:gd name="T2" fmla="*/ 232 w 665"/>
                      <a:gd name="T3" fmla="*/ 886 h 903"/>
                      <a:gd name="T4" fmla="*/ 288 w 665"/>
                      <a:gd name="T5" fmla="*/ 825 h 903"/>
                      <a:gd name="T6" fmla="*/ 326 w 665"/>
                      <a:gd name="T7" fmla="*/ 756 h 903"/>
                      <a:gd name="T8" fmla="*/ 414 w 665"/>
                      <a:gd name="T9" fmla="*/ 731 h 903"/>
                      <a:gd name="T10" fmla="*/ 528 w 665"/>
                      <a:gd name="T11" fmla="*/ 749 h 903"/>
                      <a:gd name="T12" fmla="*/ 563 w 665"/>
                      <a:gd name="T13" fmla="*/ 714 h 903"/>
                      <a:gd name="T14" fmla="*/ 645 w 665"/>
                      <a:gd name="T15" fmla="*/ 657 h 903"/>
                      <a:gd name="T16" fmla="*/ 586 w 665"/>
                      <a:gd name="T17" fmla="*/ 639 h 903"/>
                      <a:gd name="T18" fmla="*/ 559 w 665"/>
                      <a:gd name="T19" fmla="*/ 589 h 903"/>
                      <a:gd name="T20" fmla="*/ 530 w 665"/>
                      <a:gd name="T21" fmla="*/ 504 h 903"/>
                      <a:gd name="T22" fmla="*/ 520 w 665"/>
                      <a:gd name="T23" fmla="*/ 468 h 903"/>
                      <a:gd name="T24" fmla="*/ 471 w 665"/>
                      <a:gd name="T25" fmla="*/ 431 h 903"/>
                      <a:gd name="T26" fmla="*/ 469 w 665"/>
                      <a:gd name="T27" fmla="*/ 354 h 903"/>
                      <a:gd name="T28" fmla="*/ 425 w 665"/>
                      <a:gd name="T29" fmla="*/ 307 h 903"/>
                      <a:gd name="T30" fmla="*/ 368 w 665"/>
                      <a:gd name="T31" fmla="*/ 289 h 903"/>
                      <a:gd name="T32" fmla="*/ 386 w 665"/>
                      <a:gd name="T33" fmla="*/ 256 h 903"/>
                      <a:gd name="T34" fmla="*/ 381 w 665"/>
                      <a:gd name="T35" fmla="*/ 200 h 903"/>
                      <a:gd name="T36" fmla="*/ 441 w 665"/>
                      <a:gd name="T37" fmla="*/ 158 h 903"/>
                      <a:gd name="T38" fmla="*/ 462 w 665"/>
                      <a:gd name="T39" fmla="*/ 94 h 903"/>
                      <a:gd name="T40" fmla="*/ 387 w 665"/>
                      <a:gd name="T41" fmla="*/ 69 h 903"/>
                      <a:gd name="T42" fmla="*/ 350 w 665"/>
                      <a:gd name="T43" fmla="*/ 34 h 903"/>
                      <a:gd name="T44" fmla="*/ 289 w 665"/>
                      <a:gd name="T45" fmla="*/ 43 h 903"/>
                      <a:gd name="T46" fmla="*/ 265 w 665"/>
                      <a:gd name="T47" fmla="*/ 0 h 903"/>
                      <a:gd name="T48" fmla="*/ 235 w 665"/>
                      <a:gd name="T49" fmla="*/ 34 h 903"/>
                      <a:gd name="T50" fmla="*/ 192 w 665"/>
                      <a:gd name="T51" fmla="*/ 66 h 903"/>
                      <a:gd name="T52" fmla="*/ 185 w 665"/>
                      <a:gd name="T53" fmla="*/ 162 h 903"/>
                      <a:gd name="T54" fmla="*/ 106 w 665"/>
                      <a:gd name="T55" fmla="*/ 188 h 903"/>
                      <a:gd name="T56" fmla="*/ 72 w 665"/>
                      <a:gd name="T57" fmla="*/ 189 h 903"/>
                      <a:gd name="T58" fmla="*/ 50 w 665"/>
                      <a:gd name="T59" fmla="*/ 207 h 903"/>
                      <a:gd name="T60" fmla="*/ 39 w 665"/>
                      <a:gd name="T61" fmla="*/ 227 h 903"/>
                      <a:gd name="T62" fmla="*/ 87 w 665"/>
                      <a:gd name="T63" fmla="*/ 397 h 903"/>
                      <a:gd name="T64" fmla="*/ 103 w 665"/>
                      <a:gd name="T65" fmla="*/ 517 h 903"/>
                      <a:gd name="T66" fmla="*/ 87 w 665"/>
                      <a:gd name="T67" fmla="*/ 594 h 903"/>
                      <a:gd name="T68" fmla="*/ 69 w 665"/>
                      <a:gd name="T69" fmla="*/ 676 h 903"/>
                      <a:gd name="T70" fmla="*/ 23 w 665"/>
                      <a:gd name="T71" fmla="*/ 786 h 903"/>
                      <a:gd name="T72" fmla="*/ 0 w 665"/>
                      <a:gd name="T73" fmla="*/ 893 h 903"/>
                      <a:gd name="T74" fmla="*/ 37 w 665"/>
                      <a:gd name="T75"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5" h="903">
                        <a:moveTo>
                          <a:pt x="68" y="875"/>
                        </a:moveTo>
                        <a:cubicBezTo>
                          <a:pt x="76" y="874"/>
                          <a:pt x="119" y="871"/>
                          <a:pt x="125" y="871"/>
                        </a:cubicBezTo>
                        <a:cubicBezTo>
                          <a:pt x="131" y="871"/>
                          <a:pt x="142" y="854"/>
                          <a:pt x="147" y="857"/>
                        </a:cubicBezTo>
                        <a:cubicBezTo>
                          <a:pt x="152" y="859"/>
                          <a:pt x="219" y="891"/>
                          <a:pt x="232" y="886"/>
                        </a:cubicBezTo>
                        <a:cubicBezTo>
                          <a:pt x="244" y="881"/>
                          <a:pt x="249" y="857"/>
                          <a:pt x="257" y="855"/>
                        </a:cubicBezTo>
                        <a:cubicBezTo>
                          <a:pt x="265" y="853"/>
                          <a:pt x="277" y="837"/>
                          <a:pt x="288" y="825"/>
                        </a:cubicBezTo>
                        <a:cubicBezTo>
                          <a:pt x="298" y="812"/>
                          <a:pt x="269" y="763"/>
                          <a:pt x="278" y="760"/>
                        </a:cubicBezTo>
                        <a:cubicBezTo>
                          <a:pt x="286" y="757"/>
                          <a:pt x="322" y="757"/>
                          <a:pt x="326" y="756"/>
                        </a:cubicBezTo>
                        <a:cubicBezTo>
                          <a:pt x="331" y="755"/>
                          <a:pt x="372" y="744"/>
                          <a:pt x="378" y="741"/>
                        </a:cubicBezTo>
                        <a:cubicBezTo>
                          <a:pt x="384" y="737"/>
                          <a:pt x="394" y="729"/>
                          <a:pt x="414" y="731"/>
                        </a:cubicBezTo>
                        <a:cubicBezTo>
                          <a:pt x="434" y="733"/>
                          <a:pt x="447" y="751"/>
                          <a:pt x="453" y="751"/>
                        </a:cubicBezTo>
                        <a:cubicBezTo>
                          <a:pt x="459" y="751"/>
                          <a:pt x="518" y="757"/>
                          <a:pt x="528" y="749"/>
                        </a:cubicBezTo>
                        <a:cubicBezTo>
                          <a:pt x="537" y="741"/>
                          <a:pt x="550" y="729"/>
                          <a:pt x="557" y="725"/>
                        </a:cubicBezTo>
                        <a:cubicBezTo>
                          <a:pt x="559" y="724"/>
                          <a:pt x="561" y="720"/>
                          <a:pt x="563" y="714"/>
                        </a:cubicBezTo>
                        <a:cubicBezTo>
                          <a:pt x="567" y="704"/>
                          <a:pt x="571" y="690"/>
                          <a:pt x="578" y="681"/>
                        </a:cubicBezTo>
                        <a:cubicBezTo>
                          <a:pt x="588" y="667"/>
                          <a:pt x="639" y="659"/>
                          <a:pt x="645" y="657"/>
                        </a:cubicBezTo>
                        <a:cubicBezTo>
                          <a:pt x="649" y="656"/>
                          <a:pt x="658" y="648"/>
                          <a:pt x="665" y="642"/>
                        </a:cubicBezTo>
                        <a:cubicBezTo>
                          <a:pt x="642" y="641"/>
                          <a:pt x="587" y="640"/>
                          <a:pt x="586" y="639"/>
                        </a:cubicBezTo>
                        <a:cubicBezTo>
                          <a:pt x="584" y="638"/>
                          <a:pt x="558" y="619"/>
                          <a:pt x="559" y="613"/>
                        </a:cubicBezTo>
                        <a:cubicBezTo>
                          <a:pt x="561" y="608"/>
                          <a:pt x="563" y="597"/>
                          <a:pt x="559" y="589"/>
                        </a:cubicBezTo>
                        <a:cubicBezTo>
                          <a:pt x="555" y="582"/>
                          <a:pt x="541" y="555"/>
                          <a:pt x="539" y="551"/>
                        </a:cubicBezTo>
                        <a:cubicBezTo>
                          <a:pt x="537" y="547"/>
                          <a:pt x="530" y="504"/>
                          <a:pt x="530" y="504"/>
                        </a:cubicBezTo>
                        <a:cubicBezTo>
                          <a:pt x="515" y="504"/>
                          <a:pt x="515" y="504"/>
                          <a:pt x="515" y="504"/>
                        </a:cubicBezTo>
                        <a:cubicBezTo>
                          <a:pt x="520" y="468"/>
                          <a:pt x="520" y="468"/>
                          <a:pt x="520" y="468"/>
                        </a:cubicBezTo>
                        <a:cubicBezTo>
                          <a:pt x="520" y="468"/>
                          <a:pt x="480" y="474"/>
                          <a:pt x="479" y="470"/>
                        </a:cubicBezTo>
                        <a:cubicBezTo>
                          <a:pt x="477" y="466"/>
                          <a:pt x="464" y="441"/>
                          <a:pt x="471" y="431"/>
                        </a:cubicBezTo>
                        <a:cubicBezTo>
                          <a:pt x="478" y="421"/>
                          <a:pt x="489" y="413"/>
                          <a:pt x="489" y="411"/>
                        </a:cubicBezTo>
                        <a:cubicBezTo>
                          <a:pt x="489" y="409"/>
                          <a:pt x="461" y="363"/>
                          <a:pt x="469" y="354"/>
                        </a:cubicBezTo>
                        <a:cubicBezTo>
                          <a:pt x="478" y="345"/>
                          <a:pt x="456" y="332"/>
                          <a:pt x="451" y="326"/>
                        </a:cubicBezTo>
                        <a:cubicBezTo>
                          <a:pt x="446" y="319"/>
                          <a:pt x="425" y="307"/>
                          <a:pt x="425" y="307"/>
                        </a:cubicBezTo>
                        <a:cubicBezTo>
                          <a:pt x="402" y="287"/>
                          <a:pt x="402" y="287"/>
                          <a:pt x="402" y="287"/>
                        </a:cubicBezTo>
                        <a:cubicBezTo>
                          <a:pt x="368" y="289"/>
                          <a:pt x="368" y="289"/>
                          <a:pt x="368" y="289"/>
                        </a:cubicBezTo>
                        <a:cubicBezTo>
                          <a:pt x="368" y="289"/>
                          <a:pt x="366" y="264"/>
                          <a:pt x="368" y="264"/>
                        </a:cubicBezTo>
                        <a:cubicBezTo>
                          <a:pt x="369" y="264"/>
                          <a:pt x="386" y="256"/>
                          <a:pt x="386" y="256"/>
                        </a:cubicBezTo>
                        <a:cubicBezTo>
                          <a:pt x="386" y="256"/>
                          <a:pt x="378" y="250"/>
                          <a:pt x="378" y="237"/>
                        </a:cubicBezTo>
                        <a:cubicBezTo>
                          <a:pt x="379" y="224"/>
                          <a:pt x="380" y="205"/>
                          <a:pt x="381" y="200"/>
                        </a:cubicBezTo>
                        <a:cubicBezTo>
                          <a:pt x="383" y="194"/>
                          <a:pt x="381" y="185"/>
                          <a:pt x="388" y="182"/>
                        </a:cubicBezTo>
                        <a:cubicBezTo>
                          <a:pt x="394" y="179"/>
                          <a:pt x="434" y="168"/>
                          <a:pt x="441" y="158"/>
                        </a:cubicBezTo>
                        <a:cubicBezTo>
                          <a:pt x="448" y="148"/>
                          <a:pt x="445" y="131"/>
                          <a:pt x="452" y="125"/>
                        </a:cubicBezTo>
                        <a:cubicBezTo>
                          <a:pt x="460" y="120"/>
                          <a:pt x="464" y="102"/>
                          <a:pt x="462" y="94"/>
                        </a:cubicBezTo>
                        <a:cubicBezTo>
                          <a:pt x="460" y="86"/>
                          <a:pt x="426" y="69"/>
                          <a:pt x="423" y="69"/>
                        </a:cubicBezTo>
                        <a:cubicBezTo>
                          <a:pt x="419" y="69"/>
                          <a:pt x="389" y="71"/>
                          <a:pt x="387" y="69"/>
                        </a:cubicBezTo>
                        <a:cubicBezTo>
                          <a:pt x="384" y="68"/>
                          <a:pt x="375" y="54"/>
                          <a:pt x="375" y="54"/>
                        </a:cubicBezTo>
                        <a:cubicBezTo>
                          <a:pt x="350" y="34"/>
                          <a:pt x="350" y="34"/>
                          <a:pt x="350" y="34"/>
                        </a:cubicBezTo>
                        <a:cubicBezTo>
                          <a:pt x="305" y="34"/>
                          <a:pt x="305" y="34"/>
                          <a:pt x="305" y="34"/>
                        </a:cubicBezTo>
                        <a:cubicBezTo>
                          <a:pt x="305" y="34"/>
                          <a:pt x="294" y="44"/>
                          <a:pt x="289" y="43"/>
                        </a:cubicBezTo>
                        <a:cubicBezTo>
                          <a:pt x="284" y="43"/>
                          <a:pt x="275" y="35"/>
                          <a:pt x="273" y="28"/>
                        </a:cubicBezTo>
                        <a:cubicBezTo>
                          <a:pt x="272" y="23"/>
                          <a:pt x="267" y="7"/>
                          <a:pt x="265" y="0"/>
                        </a:cubicBezTo>
                        <a:cubicBezTo>
                          <a:pt x="261" y="6"/>
                          <a:pt x="255" y="20"/>
                          <a:pt x="251" y="24"/>
                        </a:cubicBezTo>
                        <a:cubicBezTo>
                          <a:pt x="246" y="29"/>
                          <a:pt x="240" y="31"/>
                          <a:pt x="235" y="34"/>
                        </a:cubicBezTo>
                        <a:cubicBezTo>
                          <a:pt x="230" y="37"/>
                          <a:pt x="220" y="59"/>
                          <a:pt x="215" y="65"/>
                        </a:cubicBezTo>
                        <a:cubicBezTo>
                          <a:pt x="210" y="71"/>
                          <a:pt x="192" y="66"/>
                          <a:pt x="192" y="66"/>
                        </a:cubicBezTo>
                        <a:cubicBezTo>
                          <a:pt x="192" y="66"/>
                          <a:pt x="200" y="114"/>
                          <a:pt x="194" y="122"/>
                        </a:cubicBezTo>
                        <a:cubicBezTo>
                          <a:pt x="187" y="130"/>
                          <a:pt x="187" y="160"/>
                          <a:pt x="185" y="162"/>
                        </a:cubicBezTo>
                        <a:cubicBezTo>
                          <a:pt x="183" y="163"/>
                          <a:pt x="164" y="175"/>
                          <a:pt x="150" y="187"/>
                        </a:cubicBezTo>
                        <a:cubicBezTo>
                          <a:pt x="137" y="199"/>
                          <a:pt x="109" y="187"/>
                          <a:pt x="106" y="188"/>
                        </a:cubicBezTo>
                        <a:cubicBezTo>
                          <a:pt x="103" y="189"/>
                          <a:pt x="96" y="194"/>
                          <a:pt x="91" y="194"/>
                        </a:cubicBezTo>
                        <a:cubicBezTo>
                          <a:pt x="86" y="194"/>
                          <a:pt x="77" y="191"/>
                          <a:pt x="72" y="189"/>
                        </a:cubicBezTo>
                        <a:cubicBezTo>
                          <a:pt x="69" y="188"/>
                          <a:pt x="59" y="186"/>
                          <a:pt x="50" y="186"/>
                        </a:cubicBezTo>
                        <a:cubicBezTo>
                          <a:pt x="50" y="198"/>
                          <a:pt x="50" y="207"/>
                          <a:pt x="50" y="207"/>
                        </a:cubicBezTo>
                        <a:cubicBezTo>
                          <a:pt x="50" y="207"/>
                          <a:pt x="67" y="219"/>
                          <a:pt x="58" y="223"/>
                        </a:cubicBezTo>
                        <a:cubicBezTo>
                          <a:pt x="54" y="225"/>
                          <a:pt x="47" y="226"/>
                          <a:pt x="39" y="227"/>
                        </a:cubicBezTo>
                        <a:cubicBezTo>
                          <a:pt x="40" y="237"/>
                          <a:pt x="43" y="263"/>
                          <a:pt x="42" y="275"/>
                        </a:cubicBezTo>
                        <a:cubicBezTo>
                          <a:pt x="41" y="289"/>
                          <a:pt x="85" y="391"/>
                          <a:pt x="87" y="397"/>
                        </a:cubicBezTo>
                        <a:cubicBezTo>
                          <a:pt x="89" y="404"/>
                          <a:pt x="85" y="480"/>
                          <a:pt x="85" y="483"/>
                        </a:cubicBezTo>
                        <a:cubicBezTo>
                          <a:pt x="86" y="486"/>
                          <a:pt x="95" y="502"/>
                          <a:pt x="103" y="517"/>
                        </a:cubicBezTo>
                        <a:cubicBezTo>
                          <a:pt x="111" y="533"/>
                          <a:pt x="97" y="573"/>
                          <a:pt x="97" y="579"/>
                        </a:cubicBezTo>
                        <a:cubicBezTo>
                          <a:pt x="97" y="586"/>
                          <a:pt x="94" y="588"/>
                          <a:pt x="87" y="594"/>
                        </a:cubicBezTo>
                        <a:cubicBezTo>
                          <a:pt x="80" y="601"/>
                          <a:pt x="80" y="622"/>
                          <a:pt x="78" y="629"/>
                        </a:cubicBezTo>
                        <a:cubicBezTo>
                          <a:pt x="76" y="636"/>
                          <a:pt x="70" y="656"/>
                          <a:pt x="69" y="676"/>
                        </a:cubicBezTo>
                        <a:cubicBezTo>
                          <a:pt x="67" y="697"/>
                          <a:pt x="50" y="733"/>
                          <a:pt x="46" y="748"/>
                        </a:cubicBezTo>
                        <a:cubicBezTo>
                          <a:pt x="43" y="762"/>
                          <a:pt x="29" y="774"/>
                          <a:pt x="23" y="786"/>
                        </a:cubicBezTo>
                        <a:cubicBezTo>
                          <a:pt x="18" y="797"/>
                          <a:pt x="21" y="812"/>
                          <a:pt x="14" y="827"/>
                        </a:cubicBezTo>
                        <a:cubicBezTo>
                          <a:pt x="7" y="841"/>
                          <a:pt x="3" y="887"/>
                          <a:pt x="0" y="893"/>
                        </a:cubicBezTo>
                        <a:cubicBezTo>
                          <a:pt x="12" y="894"/>
                          <a:pt x="27" y="896"/>
                          <a:pt x="32" y="898"/>
                        </a:cubicBezTo>
                        <a:cubicBezTo>
                          <a:pt x="34" y="899"/>
                          <a:pt x="36" y="900"/>
                          <a:pt x="37" y="903"/>
                        </a:cubicBezTo>
                        <a:cubicBezTo>
                          <a:pt x="47" y="892"/>
                          <a:pt x="62" y="876"/>
                          <a:pt x="68" y="875"/>
                        </a:cubicBezTo>
                        <a:close/>
                      </a:path>
                    </a:pathLst>
                  </a:custGeom>
                  <a:solidFill>
                    <a:srgbClr val="FF00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536">
                    <a:extLst>
                      <a:ext uri="{FF2B5EF4-FFF2-40B4-BE49-F238E27FC236}">
                        <a16:creationId xmlns:a16="http://schemas.microsoft.com/office/drawing/2014/main" id="{966D9D46-A431-1EAB-5A84-CC95C86BEC59}"/>
                      </a:ext>
                    </a:extLst>
                  </p:cNvPr>
                  <p:cNvSpPr>
                    <a:spLocks noChangeAspect="1"/>
                  </p:cNvSpPr>
                  <p:nvPr/>
                </p:nvSpPr>
                <p:spPr bwMode="auto">
                  <a:xfrm>
                    <a:off x="4408785" y="3619319"/>
                    <a:ext cx="1209912" cy="744548"/>
                  </a:xfrm>
                  <a:custGeom>
                    <a:avLst/>
                    <a:gdLst>
                      <a:gd name="T0" fmla="*/ 126 w 3099"/>
                      <a:gd name="T1" fmla="*/ 1315 h 1906"/>
                      <a:gd name="T2" fmla="*/ 201 w 3099"/>
                      <a:gd name="T3" fmla="*/ 1273 h 1906"/>
                      <a:gd name="T4" fmla="*/ 274 w 3099"/>
                      <a:gd name="T5" fmla="*/ 1216 h 1906"/>
                      <a:gd name="T6" fmla="*/ 411 w 3099"/>
                      <a:gd name="T7" fmla="*/ 1164 h 1906"/>
                      <a:gd name="T8" fmla="*/ 620 w 3099"/>
                      <a:gd name="T9" fmla="*/ 1091 h 1906"/>
                      <a:gd name="T10" fmla="*/ 744 w 3099"/>
                      <a:gd name="T11" fmla="*/ 1045 h 1906"/>
                      <a:gd name="T12" fmla="*/ 865 w 3099"/>
                      <a:gd name="T13" fmla="*/ 971 h 1906"/>
                      <a:gd name="T14" fmla="*/ 1046 w 3099"/>
                      <a:gd name="T15" fmla="*/ 804 h 1906"/>
                      <a:gd name="T16" fmla="*/ 1106 w 3099"/>
                      <a:gd name="T17" fmla="*/ 901 h 1906"/>
                      <a:gd name="T18" fmla="*/ 1174 w 3099"/>
                      <a:gd name="T19" fmla="*/ 966 h 1906"/>
                      <a:gd name="T20" fmla="*/ 1345 w 3099"/>
                      <a:gd name="T21" fmla="*/ 982 h 1906"/>
                      <a:gd name="T22" fmla="*/ 1413 w 3099"/>
                      <a:gd name="T23" fmla="*/ 1006 h 1906"/>
                      <a:gd name="T24" fmla="*/ 1331 w 3099"/>
                      <a:gd name="T25" fmla="*/ 1081 h 1906"/>
                      <a:gd name="T26" fmla="*/ 1276 w 3099"/>
                      <a:gd name="T27" fmla="*/ 1263 h 1906"/>
                      <a:gd name="T28" fmla="*/ 1372 w 3099"/>
                      <a:gd name="T29" fmla="*/ 1440 h 1906"/>
                      <a:gd name="T30" fmla="*/ 1454 w 3099"/>
                      <a:gd name="T31" fmla="*/ 1583 h 1906"/>
                      <a:gd name="T32" fmla="*/ 1559 w 3099"/>
                      <a:gd name="T33" fmla="*/ 1705 h 1906"/>
                      <a:gd name="T34" fmla="*/ 1627 w 3099"/>
                      <a:gd name="T35" fmla="*/ 1822 h 1906"/>
                      <a:gd name="T36" fmla="*/ 1730 w 3099"/>
                      <a:gd name="T37" fmla="*/ 1826 h 1906"/>
                      <a:gd name="T38" fmla="*/ 1887 w 3099"/>
                      <a:gd name="T39" fmla="*/ 1820 h 1906"/>
                      <a:gd name="T40" fmla="*/ 2040 w 3099"/>
                      <a:gd name="T41" fmla="*/ 1847 h 1906"/>
                      <a:gd name="T42" fmla="*/ 2148 w 3099"/>
                      <a:gd name="T43" fmla="*/ 1848 h 1906"/>
                      <a:gd name="T44" fmla="*/ 2231 w 3099"/>
                      <a:gd name="T45" fmla="*/ 1883 h 1906"/>
                      <a:gd name="T46" fmla="*/ 2367 w 3099"/>
                      <a:gd name="T47" fmla="*/ 1859 h 1906"/>
                      <a:gd name="T48" fmla="*/ 2485 w 3099"/>
                      <a:gd name="T49" fmla="*/ 1809 h 1906"/>
                      <a:gd name="T50" fmla="*/ 2489 w 3099"/>
                      <a:gd name="T51" fmla="*/ 1739 h 1906"/>
                      <a:gd name="T52" fmla="*/ 2428 w 3099"/>
                      <a:gd name="T53" fmla="*/ 1731 h 1906"/>
                      <a:gd name="T54" fmla="*/ 2343 w 3099"/>
                      <a:gd name="T55" fmla="*/ 1576 h 1906"/>
                      <a:gd name="T56" fmla="*/ 2444 w 3099"/>
                      <a:gd name="T57" fmla="*/ 1446 h 1906"/>
                      <a:gd name="T58" fmla="*/ 2601 w 3099"/>
                      <a:gd name="T59" fmla="*/ 1473 h 1906"/>
                      <a:gd name="T60" fmla="*/ 2801 w 3099"/>
                      <a:gd name="T61" fmla="*/ 1538 h 1906"/>
                      <a:gd name="T62" fmla="*/ 2938 w 3099"/>
                      <a:gd name="T63" fmla="*/ 1536 h 1906"/>
                      <a:gd name="T64" fmla="*/ 3069 w 3099"/>
                      <a:gd name="T65" fmla="*/ 1328 h 1906"/>
                      <a:gd name="T66" fmla="*/ 3036 w 3099"/>
                      <a:gd name="T67" fmla="*/ 1231 h 1906"/>
                      <a:gd name="T68" fmla="*/ 2793 w 3099"/>
                      <a:gd name="T69" fmla="*/ 1236 h 1906"/>
                      <a:gd name="T70" fmla="*/ 2623 w 3099"/>
                      <a:gd name="T71" fmla="*/ 1143 h 1906"/>
                      <a:gd name="T72" fmla="*/ 2429 w 3099"/>
                      <a:gd name="T73" fmla="*/ 1032 h 1906"/>
                      <a:gd name="T74" fmla="*/ 2218 w 3099"/>
                      <a:gd name="T75" fmla="*/ 973 h 1906"/>
                      <a:gd name="T76" fmla="*/ 2111 w 3099"/>
                      <a:gd name="T77" fmla="*/ 855 h 1906"/>
                      <a:gd name="T78" fmla="*/ 2004 w 3099"/>
                      <a:gd name="T79" fmla="*/ 800 h 1906"/>
                      <a:gd name="T80" fmla="*/ 1792 w 3099"/>
                      <a:gd name="T81" fmla="*/ 744 h 1906"/>
                      <a:gd name="T82" fmla="*/ 1653 w 3099"/>
                      <a:gd name="T83" fmla="*/ 678 h 1906"/>
                      <a:gd name="T84" fmla="*/ 1526 w 3099"/>
                      <a:gd name="T85" fmla="*/ 538 h 1906"/>
                      <a:gd name="T86" fmla="*/ 1449 w 3099"/>
                      <a:gd name="T87" fmla="*/ 466 h 1906"/>
                      <a:gd name="T88" fmla="*/ 1400 w 3099"/>
                      <a:gd name="T89" fmla="*/ 413 h 1906"/>
                      <a:gd name="T90" fmla="*/ 1314 w 3099"/>
                      <a:gd name="T91" fmla="*/ 314 h 1906"/>
                      <a:gd name="T92" fmla="*/ 1249 w 3099"/>
                      <a:gd name="T93" fmla="*/ 232 h 1906"/>
                      <a:gd name="T94" fmla="*/ 1165 w 3099"/>
                      <a:gd name="T95" fmla="*/ 234 h 1906"/>
                      <a:gd name="T96" fmla="*/ 1080 w 3099"/>
                      <a:gd name="T97" fmla="*/ 155 h 1906"/>
                      <a:gd name="T98" fmla="*/ 1088 w 3099"/>
                      <a:gd name="T99" fmla="*/ 113 h 1906"/>
                      <a:gd name="T100" fmla="*/ 1054 w 3099"/>
                      <a:gd name="T101" fmla="*/ 74 h 1906"/>
                      <a:gd name="T102" fmla="*/ 990 w 3099"/>
                      <a:gd name="T103" fmla="*/ 34 h 1906"/>
                      <a:gd name="T104" fmla="*/ 794 w 3099"/>
                      <a:gd name="T105" fmla="*/ 0 h 1906"/>
                      <a:gd name="T106" fmla="*/ 616 w 3099"/>
                      <a:gd name="T107" fmla="*/ 215 h 1906"/>
                      <a:gd name="T108" fmla="*/ 525 w 3099"/>
                      <a:gd name="T109" fmla="*/ 379 h 1906"/>
                      <a:gd name="T110" fmla="*/ 381 w 3099"/>
                      <a:gd name="T111" fmla="*/ 528 h 1906"/>
                      <a:gd name="T112" fmla="*/ 379 w 3099"/>
                      <a:gd name="T113" fmla="*/ 724 h 1906"/>
                      <a:gd name="T114" fmla="*/ 234 w 3099"/>
                      <a:gd name="T115" fmla="*/ 918 h 1906"/>
                      <a:gd name="T116" fmla="*/ 50 w 3099"/>
                      <a:gd name="T117" fmla="*/ 920 h 1906"/>
                      <a:gd name="T118" fmla="*/ 29 w 3099"/>
                      <a:gd name="T119" fmla="*/ 1096 h 1906"/>
                      <a:gd name="T120" fmla="*/ 25 w 3099"/>
                      <a:gd name="T121" fmla="*/ 1351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9" h="1906">
                        <a:moveTo>
                          <a:pt x="45" y="1325"/>
                        </a:moveTo>
                        <a:cubicBezTo>
                          <a:pt x="48" y="1317"/>
                          <a:pt x="80" y="1300"/>
                          <a:pt x="80" y="1300"/>
                        </a:cubicBezTo>
                        <a:cubicBezTo>
                          <a:pt x="94" y="1315"/>
                          <a:pt x="94" y="1315"/>
                          <a:pt x="94" y="1315"/>
                        </a:cubicBezTo>
                        <a:cubicBezTo>
                          <a:pt x="94" y="1315"/>
                          <a:pt x="123" y="1315"/>
                          <a:pt x="126" y="1315"/>
                        </a:cubicBezTo>
                        <a:cubicBezTo>
                          <a:pt x="129" y="1315"/>
                          <a:pt x="135" y="1323"/>
                          <a:pt x="137" y="1324"/>
                        </a:cubicBezTo>
                        <a:cubicBezTo>
                          <a:pt x="140" y="1325"/>
                          <a:pt x="167" y="1307"/>
                          <a:pt x="172" y="1299"/>
                        </a:cubicBezTo>
                        <a:cubicBezTo>
                          <a:pt x="178" y="1292"/>
                          <a:pt x="188" y="1273"/>
                          <a:pt x="188" y="1273"/>
                        </a:cubicBezTo>
                        <a:cubicBezTo>
                          <a:pt x="201" y="1273"/>
                          <a:pt x="201" y="1273"/>
                          <a:pt x="201" y="1273"/>
                        </a:cubicBezTo>
                        <a:cubicBezTo>
                          <a:pt x="201" y="1273"/>
                          <a:pt x="215" y="1254"/>
                          <a:pt x="221" y="1251"/>
                        </a:cubicBezTo>
                        <a:cubicBezTo>
                          <a:pt x="227" y="1247"/>
                          <a:pt x="233" y="1248"/>
                          <a:pt x="233" y="1248"/>
                        </a:cubicBezTo>
                        <a:cubicBezTo>
                          <a:pt x="233" y="1248"/>
                          <a:pt x="245" y="1227"/>
                          <a:pt x="252" y="1221"/>
                        </a:cubicBezTo>
                        <a:cubicBezTo>
                          <a:pt x="259" y="1214"/>
                          <a:pt x="272" y="1218"/>
                          <a:pt x="274" y="1216"/>
                        </a:cubicBezTo>
                        <a:cubicBezTo>
                          <a:pt x="276" y="1215"/>
                          <a:pt x="294" y="1188"/>
                          <a:pt x="303" y="1175"/>
                        </a:cubicBezTo>
                        <a:cubicBezTo>
                          <a:pt x="312" y="1162"/>
                          <a:pt x="337" y="1163"/>
                          <a:pt x="343" y="1154"/>
                        </a:cubicBezTo>
                        <a:cubicBezTo>
                          <a:pt x="349" y="1145"/>
                          <a:pt x="410" y="1153"/>
                          <a:pt x="410" y="1153"/>
                        </a:cubicBezTo>
                        <a:cubicBezTo>
                          <a:pt x="411" y="1164"/>
                          <a:pt x="411" y="1164"/>
                          <a:pt x="411" y="1164"/>
                        </a:cubicBezTo>
                        <a:cubicBezTo>
                          <a:pt x="411" y="1164"/>
                          <a:pt x="460" y="1163"/>
                          <a:pt x="462" y="1163"/>
                        </a:cubicBezTo>
                        <a:cubicBezTo>
                          <a:pt x="464" y="1163"/>
                          <a:pt x="510" y="1127"/>
                          <a:pt x="510" y="1127"/>
                        </a:cubicBezTo>
                        <a:cubicBezTo>
                          <a:pt x="568" y="1129"/>
                          <a:pt x="568" y="1129"/>
                          <a:pt x="568" y="1129"/>
                        </a:cubicBezTo>
                        <a:cubicBezTo>
                          <a:pt x="568" y="1129"/>
                          <a:pt x="618" y="1093"/>
                          <a:pt x="620" y="1091"/>
                        </a:cubicBezTo>
                        <a:cubicBezTo>
                          <a:pt x="623" y="1089"/>
                          <a:pt x="636" y="1078"/>
                          <a:pt x="647" y="1075"/>
                        </a:cubicBezTo>
                        <a:cubicBezTo>
                          <a:pt x="658" y="1073"/>
                          <a:pt x="665" y="1062"/>
                          <a:pt x="666" y="1059"/>
                        </a:cubicBezTo>
                        <a:cubicBezTo>
                          <a:pt x="668" y="1057"/>
                          <a:pt x="708" y="1052"/>
                          <a:pt x="708" y="1052"/>
                        </a:cubicBezTo>
                        <a:cubicBezTo>
                          <a:pt x="708" y="1052"/>
                          <a:pt x="742" y="1045"/>
                          <a:pt x="744" y="1045"/>
                        </a:cubicBezTo>
                        <a:cubicBezTo>
                          <a:pt x="746" y="1045"/>
                          <a:pt x="763" y="1035"/>
                          <a:pt x="766" y="1031"/>
                        </a:cubicBezTo>
                        <a:cubicBezTo>
                          <a:pt x="770" y="1028"/>
                          <a:pt x="790" y="1016"/>
                          <a:pt x="800" y="1004"/>
                        </a:cubicBezTo>
                        <a:cubicBezTo>
                          <a:pt x="811" y="991"/>
                          <a:pt x="829" y="992"/>
                          <a:pt x="835" y="989"/>
                        </a:cubicBezTo>
                        <a:cubicBezTo>
                          <a:pt x="841" y="986"/>
                          <a:pt x="852" y="984"/>
                          <a:pt x="865" y="971"/>
                        </a:cubicBezTo>
                        <a:cubicBezTo>
                          <a:pt x="879" y="958"/>
                          <a:pt x="898" y="939"/>
                          <a:pt x="898" y="937"/>
                        </a:cubicBezTo>
                        <a:cubicBezTo>
                          <a:pt x="898" y="935"/>
                          <a:pt x="902" y="885"/>
                          <a:pt x="910" y="858"/>
                        </a:cubicBezTo>
                        <a:cubicBezTo>
                          <a:pt x="917" y="831"/>
                          <a:pt x="982" y="805"/>
                          <a:pt x="982" y="805"/>
                        </a:cubicBezTo>
                        <a:cubicBezTo>
                          <a:pt x="1046" y="804"/>
                          <a:pt x="1046" y="804"/>
                          <a:pt x="1046" y="804"/>
                        </a:cubicBezTo>
                        <a:cubicBezTo>
                          <a:pt x="1046" y="804"/>
                          <a:pt x="1077" y="827"/>
                          <a:pt x="1080" y="828"/>
                        </a:cubicBezTo>
                        <a:cubicBezTo>
                          <a:pt x="1083" y="829"/>
                          <a:pt x="1098" y="855"/>
                          <a:pt x="1098" y="866"/>
                        </a:cubicBezTo>
                        <a:cubicBezTo>
                          <a:pt x="1098" y="878"/>
                          <a:pt x="1113" y="887"/>
                          <a:pt x="1113" y="887"/>
                        </a:cubicBezTo>
                        <a:cubicBezTo>
                          <a:pt x="1113" y="887"/>
                          <a:pt x="1106" y="900"/>
                          <a:pt x="1106" y="901"/>
                        </a:cubicBezTo>
                        <a:cubicBezTo>
                          <a:pt x="1106" y="903"/>
                          <a:pt x="1124" y="930"/>
                          <a:pt x="1126" y="936"/>
                        </a:cubicBezTo>
                        <a:cubicBezTo>
                          <a:pt x="1128" y="942"/>
                          <a:pt x="1149" y="936"/>
                          <a:pt x="1149" y="936"/>
                        </a:cubicBezTo>
                        <a:cubicBezTo>
                          <a:pt x="1149" y="936"/>
                          <a:pt x="1155" y="953"/>
                          <a:pt x="1156" y="955"/>
                        </a:cubicBezTo>
                        <a:cubicBezTo>
                          <a:pt x="1156" y="957"/>
                          <a:pt x="1170" y="964"/>
                          <a:pt x="1174" y="966"/>
                        </a:cubicBezTo>
                        <a:cubicBezTo>
                          <a:pt x="1178" y="968"/>
                          <a:pt x="1178" y="970"/>
                          <a:pt x="1191" y="989"/>
                        </a:cubicBezTo>
                        <a:cubicBezTo>
                          <a:pt x="1205" y="1007"/>
                          <a:pt x="1261" y="1040"/>
                          <a:pt x="1270" y="1041"/>
                        </a:cubicBezTo>
                        <a:cubicBezTo>
                          <a:pt x="1278" y="1042"/>
                          <a:pt x="1295" y="1040"/>
                          <a:pt x="1295" y="1040"/>
                        </a:cubicBezTo>
                        <a:cubicBezTo>
                          <a:pt x="1295" y="1040"/>
                          <a:pt x="1343" y="984"/>
                          <a:pt x="1345" y="982"/>
                        </a:cubicBezTo>
                        <a:cubicBezTo>
                          <a:pt x="1346" y="980"/>
                          <a:pt x="1371" y="962"/>
                          <a:pt x="1386" y="958"/>
                        </a:cubicBezTo>
                        <a:cubicBezTo>
                          <a:pt x="1401" y="954"/>
                          <a:pt x="1418" y="980"/>
                          <a:pt x="1419" y="982"/>
                        </a:cubicBezTo>
                        <a:cubicBezTo>
                          <a:pt x="1420" y="984"/>
                          <a:pt x="1424" y="1006"/>
                          <a:pt x="1424" y="1006"/>
                        </a:cubicBezTo>
                        <a:cubicBezTo>
                          <a:pt x="1413" y="1006"/>
                          <a:pt x="1413" y="1006"/>
                          <a:pt x="1413" y="1006"/>
                        </a:cubicBezTo>
                        <a:cubicBezTo>
                          <a:pt x="1413" y="1006"/>
                          <a:pt x="1413" y="1021"/>
                          <a:pt x="1413" y="1027"/>
                        </a:cubicBezTo>
                        <a:cubicBezTo>
                          <a:pt x="1412" y="1034"/>
                          <a:pt x="1393" y="1042"/>
                          <a:pt x="1382" y="1042"/>
                        </a:cubicBezTo>
                        <a:cubicBezTo>
                          <a:pt x="1372" y="1042"/>
                          <a:pt x="1364" y="1051"/>
                          <a:pt x="1353" y="1058"/>
                        </a:cubicBezTo>
                        <a:cubicBezTo>
                          <a:pt x="1342" y="1065"/>
                          <a:pt x="1335" y="1078"/>
                          <a:pt x="1331" y="1081"/>
                        </a:cubicBezTo>
                        <a:cubicBezTo>
                          <a:pt x="1328" y="1084"/>
                          <a:pt x="1316" y="1105"/>
                          <a:pt x="1311" y="1112"/>
                        </a:cubicBezTo>
                        <a:cubicBezTo>
                          <a:pt x="1306" y="1119"/>
                          <a:pt x="1293" y="1153"/>
                          <a:pt x="1289" y="1156"/>
                        </a:cubicBezTo>
                        <a:cubicBezTo>
                          <a:pt x="1286" y="1159"/>
                          <a:pt x="1277" y="1160"/>
                          <a:pt x="1277" y="1160"/>
                        </a:cubicBezTo>
                        <a:cubicBezTo>
                          <a:pt x="1277" y="1160"/>
                          <a:pt x="1276" y="1261"/>
                          <a:pt x="1276" y="1263"/>
                        </a:cubicBezTo>
                        <a:cubicBezTo>
                          <a:pt x="1276" y="1266"/>
                          <a:pt x="1290" y="1298"/>
                          <a:pt x="1299" y="1314"/>
                        </a:cubicBezTo>
                        <a:cubicBezTo>
                          <a:pt x="1307" y="1329"/>
                          <a:pt x="1353" y="1406"/>
                          <a:pt x="1358" y="1417"/>
                        </a:cubicBezTo>
                        <a:cubicBezTo>
                          <a:pt x="1362" y="1427"/>
                          <a:pt x="1370" y="1423"/>
                          <a:pt x="1370" y="1423"/>
                        </a:cubicBezTo>
                        <a:cubicBezTo>
                          <a:pt x="1370" y="1423"/>
                          <a:pt x="1370" y="1435"/>
                          <a:pt x="1372" y="1440"/>
                        </a:cubicBezTo>
                        <a:cubicBezTo>
                          <a:pt x="1374" y="1445"/>
                          <a:pt x="1416" y="1521"/>
                          <a:pt x="1416" y="1523"/>
                        </a:cubicBezTo>
                        <a:cubicBezTo>
                          <a:pt x="1417" y="1524"/>
                          <a:pt x="1420" y="1529"/>
                          <a:pt x="1422" y="1545"/>
                        </a:cubicBezTo>
                        <a:cubicBezTo>
                          <a:pt x="1423" y="1561"/>
                          <a:pt x="1446" y="1560"/>
                          <a:pt x="1448" y="1563"/>
                        </a:cubicBezTo>
                        <a:cubicBezTo>
                          <a:pt x="1451" y="1566"/>
                          <a:pt x="1454" y="1580"/>
                          <a:pt x="1454" y="1583"/>
                        </a:cubicBezTo>
                        <a:cubicBezTo>
                          <a:pt x="1455" y="1586"/>
                          <a:pt x="1478" y="1607"/>
                          <a:pt x="1484" y="1612"/>
                        </a:cubicBezTo>
                        <a:cubicBezTo>
                          <a:pt x="1491" y="1618"/>
                          <a:pt x="1495" y="1617"/>
                          <a:pt x="1501" y="1634"/>
                        </a:cubicBezTo>
                        <a:cubicBezTo>
                          <a:pt x="1506" y="1651"/>
                          <a:pt x="1530" y="1657"/>
                          <a:pt x="1543" y="1666"/>
                        </a:cubicBezTo>
                        <a:cubicBezTo>
                          <a:pt x="1555" y="1674"/>
                          <a:pt x="1558" y="1692"/>
                          <a:pt x="1559" y="1705"/>
                        </a:cubicBezTo>
                        <a:cubicBezTo>
                          <a:pt x="1561" y="1718"/>
                          <a:pt x="1575" y="1736"/>
                          <a:pt x="1576" y="1738"/>
                        </a:cubicBezTo>
                        <a:cubicBezTo>
                          <a:pt x="1576" y="1739"/>
                          <a:pt x="1567" y="1749"/>
                          <a:pt x="1567" y="1749"/>
                        </a:cubicBezTo>
                        <a:cubicBezTo>
                          <a:pt x="1567" y="1749"/>
                          <a:pt x="1572" y="1771"/>
                          <a:pt x="1578" y="1789"/>
                        </a:cubicBezTo>
                        <a:cubicBezTo>
                          <a:pt x="1584" y="1808"/>
                          <a:pt x="1627" y="1820"/>
                          <a:pt x="1627" y="1822"/>
                        </a:cubicBezTo>
                        <a:cubicBezTo>
                          <a:pt x="1627" y="1823"/>
                          <a:pt x="1625" y="1826"/>
                          <a:pt x="1622" y="1829"/>
                        </a:cubicBezTo>
                        <a:cubicBezTo>
                          <a:pt x="1651" y="1830"/>
                          <a:pt x="1706" y="1830"/>
                          <a:pt x="1709" y="1828"/>
                        </a:cubicBezTo>
                        <a:cubicBezTo>
                          <a:pt x="1713" y="1826"/>
                          <a:pt x="1718" y="1819"/>
                          <a:pt x="1719" y="1819"/>
                        </a:cubicBezTo>
                        <a:cubicBezTo>
                          <a:pt x="1720" y="1819"/>
                          <a:pt x="1725" y="1825"/>
                          <a:pt x="1730" y="1826"/>
                        </a:cubicBezTo>
                        <a:cubicBezTo>
                          <a:pt x="1735" y="1827"/>
                          <a:pt x="1767" y="1841"/>
                          <a:pt x="1776" y="1837"/>
                        </a:cubicBezTo>
                        <a:cubicBezTo>
                          <a:pt x="1785" y="1832"/>
                          <a:pt x="1827" y="1811"/>
                          <a:pt x="1836" y="1810"/>
                        </a:cubicBezTo>
                        <a:cubicBezTo>
                          <a:pt x="1845" y="1809"/>
                          <a:pt x="1866" y="1814"/>
                          <a:pt x="1866" y="1814"/>
                        </a:cubicBezTo>
                        <a:cubicBezTo>
                          <a:pt x="1866" y="1814"/>
                          <a:pt x="1877" y="1825"/>
                          <a:pt x="1887" y="1820"/>
                        </a:cubicBezTo>
                        <a:cubicBezTo>
                          <a:pt x="1897" y="1815"/>
                          <a:pt x="1919" y="1794"/>
                          <a:pt x="1929" y="1794"/>
                        </a:cubicBezTo>
                        <a:cubicBezTo>
                          <a:pt x="1940" y="1795"/>
                          <a:pt x="1967" y="1793"/>
                          <a:pt x="1971" y="1796"/>
                        </a:cubicBezTo>
                        <a:cubicBezTo>
                          <a:pt x="1976" y="1798"/>
                          <a:pt x="2009" y="1842"/>
                          <a:pt x="2014" y="1844"/>
                        </a:cubicBezTo>
                        <a:cubicBezTo>
                          <a:pt x="2019" y="1846"/>
                          <a:pt x="2036" y="1851"/>
                          <a:pt x="2040" y="1847"/>
                        </a:cubicBezTo>
                        <a:cubicBezTo>
                          <a:pt x="2043" y="1843"/>
                          <a:pt x="2042" y="1828"/>
                          <a:pt x="2052" y="1831"/>
                        </a:cubicBezTo>
                        <a:cubicBezTo>
                          <a:pt x="2059" y="1833"/>
                          <a:pt x="2065" y="1835"/>
                          <a:pt x="2071" y="1837"/>
                        </a:cubicBezTo>
                        <a:cubicBezTo>
                          <a:pt x="2075" y="1839"/>
                          <a:pt x="2079" y="1840"/>
                          <a:pt x="2081" y="1841"/>
                        </a:cubicBezTo>
                        <a:cubicBezTo>
                          <a:pt x="2085" y="1842"/>
                          <a:pt x="2140" y="1859"/>
                          <a:pt x="2148" y="1848"/>
                        </a:cubicBezTo>
                        <a:cubicBezTo>
                          <a:pt x="2156" y="1837"/>
                          <a:pt x="2153" y="1824"/>
                          <a:pt x="2155" y="1824"/>
                        </a:cubicBezTo>
                        <a:cubicBezTo>
                          <a:pt x="2156" y="1824"/>
                          <a:pt x="2184" y="1822"/>
                          <a:pt x="2187" y="1824"/>
                        </a:cubicBezTo>
                        <a:cubicBezTo>
                          <a:pt x="2190" y="1826"/>
                          <a:pt x="2202" y="1857"/>
                          <a:pt x="2209" y="1862"/>
                        </a:cubicBezTo>
                        <a:cubicBezTo>
                          <a:pt x="2216" y="1868"/>
                          <a:pt x="2229" y="1882"/>
                          <a:pt x="2231" y="1883"/>
                        </a:cubicBezTo>
                        <a:cubicBezTo>
                          <a:pt x="2232" y="1884"/>
                          <a:pt x="2278" y="1906"/>
                          <a:pt x="2303" y="1906"/>
                        </a:cubicBezTo>
                        <a:cubicBezTo>
                          <a:pt x="2328" y="1906"/>
                          <a:pt x="2353" y="1897"/>
                          <a:pt x="2356" y="1884"/>
                        </a:cubicBezTo>
                        <a:cubicBezTo>
                          <a:pt x="2359" y="1871"/>
                          <a:pt x="2357" y="1867"/>
                          <a:pt x="2359" y="1865"/>
                        </a:cubicBezTo>
                        <a:cubicBezTo>
                          <a:pt x="2361" y="1864"/>
                          <a:pt x="2366" y="1862"/>
                          <a:pt x="2367" y="1859"/>
                        </a:cubicBezTo>
                        <a:cubicBezTo>
                          <a:pt x="2368" y="1856"/>
                          <a:pt x="2358" y="1831"/>
                          <a:pt x="2370" y="1819"/>
                        </a:cubicBezTo>
                        <a:cubicBezTo>
                          <a:pt x="2382" y="1806"/>
                          <a:pt x="2392" y="1793"/>
                          <a:pt x="2415" y="1793"/>
                        </a:cubicBezTo>
                        <a:cubicBezTo>
                          <a:pt x="2438" y="1793"/>
                          <a:pt x="2452" y="1793"/>
                          <a:pt x="2452" y="1794"/>
                        </a:cubicBezTo>
                        <a:cubicBezTo>
                          <a:pt x="2452" y="1795"/>
                          <a:pt x="2483" y="1800"/>
                          <a:pt x="2485" y="1809"/>
                        </a:cubicBezTo>
                        <a:cubicBezTo>
                          <a:pt x="2487" y="1817"/>
                          <a:pt x="2498" y="1827"/>
                          <a:pt x="2502" y="1831"/>
                        </a:cubicBezTo>
                        <a:cubicBezTo>
                          <a:pt x="2506" y="1827"/>
                          <a:pt x="2509" y="1823"/>
                          <a:pt x="2511" y="1821"/>
                        </a:cubicBezTo>
                        <a:cubicBezTo>
                          <a:pt x="2514" y="1815"/>
                          <a:pt x="2523" y="1766"/>
                          <a:pt x="2521" y="1748"/>
                        </a:cubicBezTo>
                        <a:cubicBezTo>
                          <a:pt x="2520" y="1731"/>
                          <a:pt x="2497" y="1740"/>
                          <a:pt x="2489" y="1739"/>
                        </a:cubicBezTo>
                        <a:cubicBezTo>
                          <a:pt x="2482" y="1739"/>
                          <a:pt x="2483" y="1747"/>
                          <a:pt x="2479" y="1750"/>
                        </a:cubicBezTo>
                        <a:cubicBezTo>
                          <a:pt x="2475" y="1753"/>
                          <a:pt x="2450" y="1750"/>
                          <a:pt x="2446" y="1749"/>
                        </a:cubicBezTo>
                        <a:cubicBezTo>
                          <a:pt x="2442" y="1748"/>
                          <a:pt x="2444" y="1741"/>
                          <a:pt x="2442" y="1735"/>
                        </a:cubicBezTo>
                        <a:cubicBezTo>
                          <a:pt x="2440" y="1729"/>
                          <a:pt x="2428" y="1731"/>
                          <a:pt x="2428" y="1731"/>
                        </a:cubicBezTo>
                        <a:cubicBezTo>
                          <a:pt x="2428" y="1731"/>
                          <a:pt x="2421" y="1671"/>
                          <a:pt x="2418" y="1668"/>
                        </a:cubicBezTo>
                        <a:cubicBezTo>
                          <a:pt x="2415" y="1664"/>
                          <a:pt x="2393" y="1667"/>
                          <a:pt x="2377" y="1666"/>
                        </a:cubicBezTo>
                        <a:cubicBezTo>
                          <a:pt x="2361" y="1664"/>
                          <a:pt x="2351" y="1600"/>
                          <a:pt x="2349" y="1597"/>
                        </a:cubicBezTo>
                        <a:cubicBezTo>
                          <a:pt x="2347" y="1593"/>
                          <a:pt x="2341" y="1581"/>
                          <a:pt x="2343" y="1576"/>
                        </a:cubicBezTo>
                        <a:cubicBezTo>
                          <a:pt x="2344" y="1571"/>
                          <a:pt x="2365" y="1548"/>
                          <a:pt x="2366" y="1545"/>
                        </a:cubicBezTo>
                        <a:cubicBezTo>
                          <a:pt x="2367" y="1543"/>
                          <a:pt x="2380" y="1528"/>
                          <a:pt x="2386" y="1520"/>
                        </a:cubicBezTo>
                        <a:cubicBezTo>
                          <a:pt x="2391" y="1512"/>
                          <a:pt x="2419" y="1490"/>
                          <a:pt x="2431" y="1479"/>
                        </a:cubicBezTo>
                        <a:cubicBezTo>
                          <a:pt x="2442" y="1468"/>
                          <a:pt x="2444" y="1446"/>
                          <a:pt x="2444" y="1446"/>
                        </a:cubicBezTo>
                        <a:cubicBezTo>
                          <a:pt x="2444" y="1446"/>
                          <a:pt x="2472" y="1424"/>
                          <a:pt x="2479" y="1421"/>
                        </a:cubicBezTo>
                        <a:cubicBezTo>
                          <a:pt x="2486" y="1418"/>
                          <a:pt x="2507" y="1420"/>
                          <a:pt x="2519" y="1417"/>
                        </a:cubicBezTo>
                        <a:cubicBezTo>
                          <a:pt x="2531" y="1414"/>
                          <a:pt x="2544" y="1435"/>
                          <a:pt x="2553" y="1435"/>
                        </a:cubicBezTo>
                        <a:cubicBezTo>
                          <a:pt x="2561" y="1435"/>
                          <a:pt x="2594" y="1463"/>
                          <a:pt x="2601" y="1473"/>
                        </a:cubicBezTo>
                        <a:cubicBezTo>
                          <a:pt x="2608" y="1483"/>
                          <a:pt x="2627" y="1480"/>
                          <a:pt x="2640" y="1494"/>
                        </a:cubicBezTo>
                        <a:cubicBezTo>
                          <a:pt x="2652" y="1507"/>
                          <a:pt x="2707" y="1520"/>
                          <a:pt x="2708" y="1521"/>
                        </a:cubicBezTo>
                        <a:cubicBezTo>
                          <a:pt x="2708" y="1523"/>
                          <a:pt x="2795" y="1520"/>
                          <a:pt x="2795" y="1520"/>
                        </a:cubicBezTo>
                        <a:cubicBezTo>
                          <a:pt x="2795" y="1520"/>
                          <a:pt x="2791" y="1533"/>
                          <a:pt x="2801" y="1538"/>
                        </a:cubicBezTo>
                        <a:cubicBezTo>
                          <a:pt x="2810" y="1542"/>
                          <a:pt x="2821" y="1525"/>
                          <a:pt x="2830" y="1517"/>
                        </a:cubicBezTo>
                        <a:cubicBezTo>
                          <a:pt x="2839" y="1510"/>
                          <a:pt x="2879" y="1511"/>
                          <a:pt x="2887" y="1511"/>
                        </a:cubicBezTo>
                        <a:cubicBezTo>
                          <a:pt x="2895" y="1511"/>
                          <a:pt x="2916" y="1520"/>
                          <a:pt x="2926" y="1520"/>
                        </a:cubicBezTo>
                        <a:cubicBezTo>
                          <a:pt x="2935" y="1520"/>
                          <a:pt x="2930" y="1524"/>
                          <a:pt x="2938" y="1536"/>
                        </a:cubicBezTo>
                        <a:cubicBezTo>
                          <a:pt x="2945" y="1547"/>
                          <a:pt x="3017" y="1538"/>
                          <a:pt x="3017" y="1537"/>
                        </a:cubicBezTo>
                        <a:cubicBezTo>
                          <a:pt x="3017" y="1536"/>
                          <a:pt x="3034" y="1404"/>
                          <a:pt x="3034" y="1404"/>
                        </a:cubicBezTo>
                        <a:cubicBezTo>
                          <a:pt x="3034" y="1404"/>
                          <a:pt x="3039" y="1370"/>
                          <a:pt x="3042" y="1364"/>
                        </a:cubicBezTo>
                        <a:cubicBezTo>
                          <a:pt x="3045" y="1358"/>
                          <a:pt x="3058" y="1337"/>
                          <a:pt x="3069" y="1328"/>
                        </a:cubicBezTo>
                        <a:cubicBezTo>
                          <a:pt x="3080" y="1319"/>
                          <a:pt x="3079" y="1292"/>
                          <a:pt x="3085" y="1281"/>
                        </a:cubicBezTo>
                        <a:cubicBezTo>
                          <a:pt x="3089" y="1274"/>
                          <a:pt x="3095" y="1257"/>
                          <a:pt x="3099" y="1246"/>
                        </a:cubicBezTo>
                        <a:cubicBezTo>
                          <a:pt x="3094" y="1247"/>
                          <a:pt x="3089" y="1248"/>
                          <a:pt x="3084" y="1248"/>
                        </a:cubicBezTo>
                        <a:cubicBezTo>
                          <a:pt x="3052" y="1248"/>
                          <a:pt x="3064" y="1238"/>
                          <a:pt x="3036" y="1231"/>
                        </a:cubicBezTo>
                        <a:cubicBezTo>
                          <a:pt x="3007" y="1224"/>
                          <a:pt x="2988" y="1204"/>
                          <a:pt x="2964" y="1204"/>
                        </a:cubicBezTo>
                        <a:cubicBezTo>
                          <a:pt x="2941" y="1205"/>
                          <a:pt x="2897" y="1225"/>
                          <a:pt x="2892" y="1225"/>
                        </a:cubicBezTo>
                        <a:cubicBezTo>
                          <a:pt x="2888" y="1225"/>
                          <a:pt x="2861" y="1220"/>
                          <a:pt x="2850" y="1218"/>
                        </a:cubicBezTo>
                        <a:cubicBezTo>
                          <a:pt x="2838" y="1217"/>
                          <a:pt x="2813" y="1233"/>
                          <a:pt x="2793" y="1236"/>
                        </a:cubicBezTo>
                        <a:cubicBezTo>
                          <a:pt x="2773" y="1238"/>
                          <a:pt x="2740" y="1226"/>
                          <a:pt x="2727" y="1226"/>
                        </a:cubicBezTo>
                        <a:cubicBezTo>
                          <a:pt x="2714" y="1225"/>
                          <a:pt x="2710" y="1219"/>
                          <a:pt x="2700" y="1206"/>
                        </a:cubicBezTo>
                        <a:cubicBezTo>
                          <a:pt x="2689" y="1192"/>
                          <a:pt x="2669" y="1156"/>
                          <a:pt x="2666" y="1154"/>
                        </a:cubicBezTo>
                        <a:cubicBezTo>
                          <a:pt x="2662" y="1152"/>
                          <a:pt x="2634" y="1143"/>
                          <a:pt x="2623" y="1143"/>
                        </a:cubicBezTo>
                        <a:cubicBezTo>
                          <a:pt x="2612" y="1143"/>
                          <a:pt x="2586" y="1128"/>
                          <a:pt x="2575" y="1122"/>
                        </a:cubicBezTo>
                        <a:cubicBezTo>
                          <a:pt x="2564" y="1115"/>
                          <a:pt x="2528" y="1085"/>
                          <a:pt x="2508" y="1073"/>
                        </a:cubicBezTo>
                        <a:cubicBezTo>
                          <a:pt x="2487" y="1061"/>
                          <a:pt x="2459" y="1048"/>
                          <a:pt x="2453" y="1042"/>
                        </a:cubicBezTo>
                        <a:cubicBezTo>
                          <a:pt x="2447" y="1035"/>
                          <a:pt x="2433" y="1038"/>
                          <a:pt x="2429" y="1032"/>
                        </a:cubicBezTo>
                        <a:cubicBezTo>
                          <a:pt x="2425" y="1027"/>
                          <a:pt x="2392" y="1013"/>
                          <a:pt x="2385" y="1002"/>
                        </a:cubicBezTo>
                        <a:cubicBezTo>
                          <a:pt x="2378" y="992"/>
                          <a:pt x="2366" y="992"/>
                          <a:pt x="2351" y="992"/>
                        </a:cubicBezTo>
                        <a:cubicBezTo>
                          <a:pt x="2336" y="992"/>
                          <a:pt x="2292" y="986"/>
                          <a:pt x="2282" y="977"/>
                        </a:cubicBezTo>
                        <a:cubicBezTo>
                          <a:pt x="2272" y="968"/>
                          <a:pt x="2221" y="973"/>
                          <a:pt x="2218" y="973"/>
                        </a:cubicBezTo>
                        <a:cubicBezTo>
                          <a:pt x="2216" y="973"/>
                          <a:pt x="2174" y="915"/>
                          <a:pt x="2171" y="914"/>
                        </a:cubicBezTo>
                        <a:cubicBezTo>
                          <a:pt x="2168" y="914"/>
                          <a:pt x="2157" y="902"/>
                          <a:pt x="2152" y="892"/>
                        </a:cubicBezTo>
                        <a:cubicBezTo>
                          <a:pt x="2148" y="883"/>
                          <a:pt x="2137" y="879"/>
                          <a:pt x="2126" y="878"/>
                        </a:cubicBezTo>
                        <a:cubicBezTo>
                          <a:pt x="2114" y="876"/>
                          <a:pt x="2112" y="858"/>
                          <a:pt x="2111" y="855"/>
                        </a:cubicBezTo>
                        <a:cubicBezTo>
                          <a:pt x="2110" y="852"/>
                          <a:pt x="2097" y="854"/>
                          <a:pt x="2092" y="854"/>
                        </a:cubicBezTo>
                        <a:cubicBezTo>
                          <a:pt x="2086" y="854"/>
                          <a:pt x="2088" y="846"/>
                          <a:pt x="2087" y="843"/>
                        </a:cubicBezTo>
                        <a:cubicBezTo>
                          <a:pt x="2086" y="840"/>
                          <a:pt x="2078" y="840"/>
                          <a:pt x="2057" y="823"/>
                        </a:cubicBezTo>
                        <a:cubicBezTo>
                          <a:pt x="2036" y="806"/>
                          <a:pt x="2035" y="801"/>
                          <a:pt x="2004" y="800"/>
                        </a:cubicBezTo>
                        <a:cubicBezTo>
                          <a:pt x="1972" y="798"/>
                          <a:pt x="1956" y="821"/>
                          <a:pt x="1946" y="821"/>
                        </a:cubicBezTo>
                        <a:cubicBezTo>
                          <a:pt x="1936" y="821"/>
                          <a:pt x="1897" y="856"/>
                          <a:pt x="1862" y="862"/>
                        </a:cubicBezTo>
                        <a:cubicBezTo>
                          <a:pt x="1828" y="868"/>
                          <a:pt x="1828" y="863"/>
                          <a:pt x="1813" y="844"/>
                        </a:cubicBezTo>
                        <a:cubicBezTo>
                          <a:pt x="1798" y="826"/>
                          <a:pt x="1792" y="744"/>
                          <a:pt x="1792" y="744"/>
                        </a:cubicBezTo>
                        <a:cubicBezTo>
                          <a:pt x="1792" y="744"/>
                          <a:pt x="1761" y="726"/>
                          <a:pt x="1754" y="720"/>
                        </a:cubicBezTo>
                        <a:cubicBezTo>
                          <a:pt x="1748" y="713"/>
                          <a:pt x="1724" y="714"/>
                          <a:pt x="1717" y="712"/>
                        </a:cubicBezTo>
                        <a:cubicBezTo>
                          <a:pt x="1710" y="710"/>
                          <a:pt x="1686" y="696"/>
                          <a:pt x="1677" y="685"/>
                        </a:cubicBezTo>
                        <a:cubicBezTo>
                          <a:pt x="1668" y="674"/>
                          <a:pt x="1672" y="682"/>
                          <a:pt x="1653" y="678"/>
                        </a:cubicBezTo>
                        <a:cubicBezTo>
                          <a:pt x="1634" y="675"/>
                          <a:pt x="1601" y="622"/>
                          <a:pt x="1582" y="614"/>
                        </a:cubicBezTo>
                        <a:cubicBezTo>
                          <a:pt x="1564" y="606"/>
                          <a:pt x="1583" y="606"/>
                          <a:pt x="1578" y="596"/>
                        </a:cubicBezTo>
                        <a:cubicBezTo>
                          <a:pt x="1574" y="587"/>
                          <a:pt x="1550" y="573"/>
                          <a:pt x="1542" y="572"/>
                        </a:cubicBezTo>
                        <a:cubicBezTo>
                          <a:pt x="1533" y="572"/>
                          <a:pt x="1528" y="545"/>
                          <a:pt x="1526" y="538"/>
                        </a:cubicBezTo>
                        <a:cubicBezTo>
                          <a:pt x="1524" y="532"/>
                          <a:pt x="1514" y="534"/>
                          <a:pt x="1503" y="526"/>
                        </a:cubicBezTo>
                        <a:cubicBezTo>
                          <a:pt x="1492" y="519"/>
                          <a:pt x="1496" y="511"/>
                          <a:pt x="1490" y="511"/>
                        </a:cubicBezTo>
                        <a:cubicBezTo>
                          <a:pt x="1483" y="511"/>
                          <a:pt x="1472" y="480"/>
                          <a:pt x="1468" y="474"/>
                        </a:cubicBezTo>
                        <a:cubicBezTo>
                          <a:pt x="1465" y="468"/>
                          <a:pt x="1459" y="469"/>
                          <a:pt x="1449" y="466"/>
                        </a:cubicBezTo>
                        <a:cubicBezTo>
                          <a:pt x="1439" y="462"/>
                          <a:pt x="1440" y="447"/>
                          <a:pt x="1437" y="441"/>
                        </a:cubicBezTo>
                        <a:cubicBezTo>
                          <a:pt x="1434" y="435"/>
                          <a:pt x="1427" y="437"/>
                          <a:pt x="1424" y="437"/>
                        </a:cubicBezTo>
                        <a:cubicBezTo>
                          <a:pt x="1422" y="437"/>
                          <a:pt x="1413" y="424"/>
                          <a:pt x="1413" y="418"/>
                        </a:cubicBezTo>
                        <a:cubicBezTo>
                          <a:pt x="1413" y="411"/>
                          <a:pt x="1407" y="413"/>
                          <a:pt x="1400" y="413"/>
                        </a:cubicBezTo>
                        <a:cubicBezTo>
                          <a:pt x="1392" y="413"/>
                          <a:pt x="1397" y="406"/>
                          <a:pt x="1397" y="401"/>
                        </a:cubicBezTo>
                        <a:cubicBezTo>
                          <a:pt x="1397" y="396"/>
                          <a:pt x="1366" y="366"/>
                          <a:pt x="1352" y="357"/>
                        </a:cubicBezTo>
                        <a:cubicBezTo>
                          <a:pt x="1337" y="348"/>
                          <a:pt x="1339" y="334"/>
                          <a:pt x="1339" y="328"/>
                        </a:cubicBezTo>
                        <a:cubicBezTo>
                          <a:pt x="1339" y="321"/>
                          <a:pt x="1318" y="318"/>
                          <a:pt x="1314" y="314"/>
                        </a:cubicBezTo>
                        <a:cubicBezTo>
                          <a:pt x="1309" y="310"/>
                          <a:pt x="1300" y="283"/>
                          <a:pt x="1300" y="279"/>
                        </a:cubicBezTo>
                        <a:cubicBezTo>
                          <a:pt x="1300" y="275"/>
                          <a:pt x="1289" y="274"/>
                          <a:pt x="1285" y="274"/>
                        </a:cubicBezTo>
                        <a:cubicBezTo>
                          <a:pt x="1281" y="274"/>
                          <a:pt x="1280" y="262"/>
                          <a:pt x="1278" y="242"/>
                        </a:cubicBezTo>
                        <a:cubicBezTo>
                          <a:pt x="1275" y="223"/>
                          <a:pt x="1256" y="232"/>
                          <a:pt x="1249" y="232"/>
                        </a:cubicBezTo>
                        <a:cubicBezTo>
                          <a:pt x="1242" y="232"/>
                          <a:pt x="1243" y="210"/>
                          <a:pt x="1243" y="205"/>
                        </a:cubicBezTo>
                        <a:cubicBezTo>
                          <a:pt x="1243" y="200"/>
                          <a:pt x="1232" y="214"/>
                          <a:pt x="1228" y="219"/>
                        </a:cubicBezTo>
                        <a:cubicBezTo>
                          <a:pt x="1224" y="224"/>
                          <a:pt x="1222" y="234"/>
                          <a:pt x="1214" y="243"/>
                        </a:cubicBezTo>
                        <a:cubicBezTo>
                          <a:pt x="1207" y="252"/>
                          <a:pt x="1175" y="237"/>
                          <a:pt x="1165" y="234"/>
                        </a:cubicBezTo>
                        <a:cubicBezTo>
                          <a:pt x="1155" y="230"/>
                          <a:pt x="1149" y="202"/>
                          <a:pt x="1149" y="202"/>
                        </a:cubicBezTo>
                        <a:cubicBezTo>
                          <a:pt x="1149" y="202"/>
                          <a:pt x="1106" y="199"/>
                          <a:pt x="1094" y="199"/>
                        </a:cubicBezTo>
                        <a:cubicBezTo>
                          <a:pt x="1082" y="199"/>
                          <a:pt x="1076" y="166"/>
                          <a:pt x="1076" y="166"/>
                        </a:cubicBezTo>
                        <a:cubicBezTo>
                          <a:pt x="1080" y="155"/>
                          <a:pt x="1080" y="155"/>
                          <a:pt x="1080" y="155"/>
                        </a:cubicBezTo>
                        <a:cubicBezTo>
                          <a:pt x="1080" y="155"/>
                          <a:pt x="1086" y="159"/>
                          <a:pt x="1098" y="164"/>
                        </a:cubicBezTo>
                        <a:cubicBezTo>
                          <a:pt x="1110" y="170"/>
                          <a:pt x="1099" y="161"/>
                          <a:pt x="1116" y="145"/>
                        </a:cubicBezTo>
                        <a:cubicBezTo>
                          <a:pt x="1134" y="129"/>
                          <a:pt x="1083" y="140"/>
                          <a:pt x="1078" y="138"/>
                        </a:cubicBezTo>
                        <a:cubicBezTo>
                          <a:pt x="1072" y="136"/>
                          <a:pt x="1088" y="113"/>
                          <a:pt x="1088" y="113"/>
                        </a:cubicBezTo>
                        <a:cubicBezTo>
                          <a:pt x="1072" y="101"/>
                          <a:pt x="1072" y="101"/>
                          <a:pt x="1072" y="101"/>
                        </a:cubicBezTo>
                        <a:cubicBezTo>
                          <a:pt x="1072" y="101"/>
                          <a:pt x="1064" y="111"/>
                          <a:pt x="1060" y="114"/>
                        </a:cubicBezTo>
                        <a:cubicBezTo>
                          <a:pt x="1055" y="118"/>
                          <a:pt x="1042" y="115"/>
                          <a:pt x="1028" y="98"/>
                        </a:cubicBezTo>
                        <a:cubicBezTo>
                          <a:pt x="1013" y="80"/>
                          <a:pt x="1054" y="74"/>
                          <a:pt x="1054" y="74"/>
                        </a:cubicBezTo>
                        <a:cubicBezTo>
                          <a:pt x="1054" y="74"/>
                          <a:pt x="1044" y="61"/>
                          <a:pt x="1034" y="54"/>
                        </a:cubicBezTo>
                        <a:cubicBezTo>
                          <a:pt x="1025" y="46"/>
                          <a:pt x="1026" y="41"/>
                          <a:pt x="1024" y="35"/>
                        </a:cubicBezTo>
                        <a:cubicBezTo>
                          <a:pt x="1023" y="29"/>
                          <a:pt x="1000" y="22"/>
                          <a:pt x="997" y="23"/>
                        </a:cubicBezTo>
                        <a:cubicBezTo>
                          <a:pt x="994" y="24"/>
                          <a:pt x="993" y="32"/>
                          <a:pt x="990" y="34"/>
                        </a:cubicBezTo>
                        <a:cubicBezTo>
                          <a:pt x="988" y="36"/>
                          <a:pt x="970" y="64"/>
                          <a:pt x="956" y="72"/>
                        </a:cubicBezTo>
                        <a:cubicBezTo>
                          <a:pt x="942" y="79"/>
                          <a:pt x="910" y="27"/>
                          <a:pt x="910" y="27"/>
                        </a:cubicBezTo>
                        <a:cubicBezTo>
                          <a:pt x="910" y="27"/>
                          <a:pt x="842" y="28"/>
                          <a:pt x="822" y="26"/>
                        </a:cubicBezTo>
                        <a:cubicBezTo>
                          <a:pt x="812" y="24"/>
                          <a:pt x="802" y="12"/>
                          <a:pt x="794" y="0"/>
                        </a:cubicBezTo>
                        <a:cubicBezTo>
                          <a:pt x="793" y="0"/>
                          <a:pt x="793" y="1"/>
                          <a:pt x="792" y="1"/>
                        </a:cubicBezTo>
                        <a:cubicBezTo>
                          <a:pt x="772" y="18"/>
                          <a:pt x="780" y="86"/>
                          <a:pt x="775" y="108"/>
                        </a:cubicBezTo>
                        <a:cubicBezTo>
                          <a:pt x="770" y="130"/>
                          <a:pt x="733" y="178"/>
                          <a:pt x="723" y="187"/>
                        </a:cubicBezTo>
                        <a:cubicBezTo>
                          <a:pt x="713" y="196"/>
                          <a:pt x="636" y="213"/>
                          <a:pt x="616" y="215"/>
                        </a:cubicBezTo>
                        <a:cubicBezTo>
                          <a:pt x="596" y="217"/>
                          <a:pt x="537" y="249"/>
                          <a:pt x="532" y="253"/>
                        </a:cubicBezTo>
                        <a:cubicBezTo>
                          <a:pt x="527" y="257"/>
                          <a:pt x="528" y="297"/>
                          <a:pt x="528" y="297"/>
                        </a:cubicBezTo>
                        <a:cubicBezTo>
                          <a:pt x="528" y="297"/>
                          <a:pt x="553" y="325"/>
                          <a:pt x="558" y="343"/>
                        </a:cubicBezTo>
                        <a:cubicBezTo>
                          <a:pt x="563" y="361"/>
                          <a:pt x="525" y="379"/>
                          <a:pt x="525" y="379"/>
                        </a:cubicBezTo>
                        <a:cubicBezTo>
                          <a:pt x="525" y="379"/>
                          <a:pt x="514" y="375"/>
                          <a:pt x="488" y="382"/>
                        </a:cubicBezTo>
                        <a:cubicBezTo>
                          <a:pt x="462" y="389"/>
                          <a:pt x="479" y="410"/>
                          <a:pt x="474" y="425"/>
                        </a:cubicBezTo>
                        <a:cubicBezTo>
                          <a:pt x="469" y="440"/>
                          <a:pt x="415" y="521"/>
                          <a:pt x="415" y="521"/>
                        </a:cubicBezTo>
                        <a:cubicBezTo>
                          <a:pt x="415" y="521"/>
                          <a:pt x="385" y="524"/>
                          <a:pt x="381" y="528"/>
                        </a:cubicBezTo>
                        <a:cubicBezTo>
                          <a:pt x="377" y="532"/>
                          <a:pt x="367" y="543"/>
                          <a:pt x="360" y="559"/>
                        </a:cubicBezTo>
                        <a:cubicBezTo>
                          <a:pt x="353" y="575"/>
                          <a:pt x="367" y="583"/>
                          <a:pt x="372" y="602"/>
                        </a:cubicBezTo>
                        <a:cubicBezTo>
                          <a:pt x="377" y="621"/>
                          <a:pt x="376" y="683"/>
                          <a:pt x="376" y="683"/>
                        </a:cubicBezTo>
                        <a:cubicBezTo>
                          <a:pt x="376" y="683"/>
                          <a:pt x="383" y="704"/>
                          <a:pt x="379" y="724"/>
                        </a:cubicBezTo>
                        <a:cubicBezTo>
                          <a:pt x="375" y="744"/>
                          <a:pt x="358" y="749"/>
                          <a:pt x="358" y="749"/>
                        </a:cubicBezTo>
                        <a:cubicBezTo>
                          <a:pt x="351" y="810"/>
                          <a:pt x="351" y="810"/>
                          <a:pt x="351" y="810"/>
                        </a:cubicBezTo>
                        <a:cubicBezTo>
                          <a:pt x="351" y="810"/>
                          <a:pt x="327" y="860"/>
                          <a:pt x="317" y="884"/>
                        </a:cubicBezTo>
                        <a:cubicBezTo>
                          <a:pt x="307" y="908"/>
                          <a:pt x="234" y="918"/>
                          <a:pt x="234" y="918"/>
                        </a:cubicBezTo>
                        <a:cubicBezTo>
                          <a:pt x="234" y="918"/>
                          <a:pt x="191" y="887"/>
                          <a:pt x="170" y="885"/>
                        </a:cubicBezTo>
                        <a:cubicBezTo>
                          <a:pt x="149" y="883"/>
                          <a:pt x="139" y="910"/>
                          <a:pt x="139" y="910"/>
                        </a:cubicBezTo>
                        <a:cubicBezTo>
                          <a:pt x="139" y="910"/>
                          <a:pt x="113" y="908"/>
                          <a:pt x="98" y="908"/>
                        </a:cubicBezTo>
                        <a:cubicBezTo>
                          <a:pt x="83" y="908"/>
                          <a:pt x="50" y="920"/>
                          <a:pt x="50" y="920"/>
                        </a:cubicBezTo>
                        <a:cubicBezTo>
                          <a:pt x="50" y="920"/>
                          <a:pt x="58" y="976"/>
                          <a:pt x="59" y="996"/>
                        </a:cubicBezTo>
                        <a:cubicBezTo>
                          <a:pt x="60" y="1016"/>
                          <a:pt x="31" y="1046"/>
                          <a:pt x="31" y="1046"/>
                        </a:cubicBezTo>
                        <a:cubicBezTo>
                          <a:pt x="31" y="1046"/>
                          <a:pt x="44" y="1054"/>
                          <a:pt x="46" y="1073"/>
                        </a:cubicBezTo>
                        <a:cubicBezTo>
                          <a:pt x="48" y="1092"/>
                          <a:pt x="29" y="1096"/>
                          <a:pt x="29" y="1096"/>
                        </a:cubicBezTo>
                        <a:cubicBezTo>
                          <a:pt x="36" y="1136"/>
                          <a:pt x="36" y="1136"/>
                          <a:pt x="36" y="1136"/>
                        </a:cubicBezTo>
                        <a:cubicBezTo>
                          <a:pt x="0" y="1179"/>
                          <a:pt x="0" y="1179"/>
                          <a:pt x="0" y="1179"/>
                        </a:cubicBezTo>
                        <a:cubicBezTo>
                          <a:pt x="16" y="1203"/>
                          <a:pt x="16" y="1203"/>
                          <a:pt x="16" y="1203"/>
                        </a:cubicBezTo>
                        <a:cubicBezTo>
                          <a:pt x="25" y="1351"/>
                          <a:pt x="25" y="1351"/>
                          <a:pt x="25" y="1351"/>
                        </a:cubicBezTo>
                        <a:cubicBezTo>
                          <a:pt x="29" y="1348"/>
                          <a:pt x="32" y="1345"/>
                          <a:pt x="34" y="1344"/>
                        </a:cubicBezTo>
                        <a:cubicBezTo>
                          <a:pt x="39" y="1341"/>
                          <a:pt x="43" y="1333"/>
                          <a:pt x="45" y="1325"/>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537">
                    <a:extLst>
                      <a:ext uri="{FF2B5EF4-FFF2-40B4-BE49-F238E27FC236}">
                        <a16:creationId xmlns:a16="http://schemas.microsoft.com/office/drawing/2014/main" id="{13D6D7A8-F748-5939-B1F9-BAEF4E140416}"/>
                      </a:ext>
                    </a:extLst>
                  </p:cNvPr>
                  <p:cNvSpPr>
                    <a:spLocks noChangeAspect="1"/>
                  </p:cNvSpPr>
                  <p:nvPr/>
                </p:nvSpPr>
                <p:spPr bwMode="auto">
                  <a:xfrm>
                    <a:off x="5188639" y="4871565"/>
                    <a:ext cx="615737" cy="529084"/>
                  </a:xfrm>
                  <a:custGeom>
                    <a:avLst/>
                    <a:gdLst>
                      <a:gd name="T0" fmla="*/ 594 w 1576"/>
                      <a:gd name="T1" fmla="*/ 1308 h 1355"/>
                      <a:gd name="T2" fmla="*/ 757 w 1576"/>
                      <a:gd name="T3" fmla="*/ 1301 h 1355"/>
                      <a:gd name="T4" fmla="*/ 841 w 1576"/>
                      <a:gd name="T5" fmla="*/ 1220 h 1355"/>
                      <a:gd name="T6" fmla="*/ 955 w 1576"/>
                      <a:gd name="T7" fmla="*/ 1246 h 1355"/>
                      <a:gd name="T8" fmla="*/ 1055 w 1576"/>
                      <a:gd name="T9" fmla="*/ 1223 h 1355"/>
                      <a:gd name="T10" fmla="*/ 1124 w 1576"/>
                      <a:gd name="T11" fmla="*/ 1128 h 1355"/>
                      <a:gd name="T12" fmla="*/ 1302 w 1576"/>
                      <a:gd name="T13" fmla="*/ 1080 h 1355"/>
                      <a:gd name="T14" fmla="*/ 1356 w 1576"/>
                      <a:gd name="T15" fmla="*/ 1021 h 1355"/>
                      <a:gd name="T16" fmla="*/ 1342 w 1576"/>
                      <a:gd name="T17" fmla="*/ 973 h 1355"/>
                      <a:gd name="T18" fmla="*/ 1377 w 1576"/>
                      <a:gd name="T19" fmla="*/ 894 h 1355"/>
                      <a:gd name="T20" fmla="*/ 1399 w 1576"/>
                      <a:gd name="T21" fmla="*/ 823 h 1355"/>
                      <a:gd name="T22" fmla="*/ 1434 w 1576"/>
                      <a:gd name="T23" fmla="*/ 700 h 1355"/>
                      <a:gd name="T24" fmla="*/ 1479 w 1576"/>
                      <a:gd name="T25" fmla="*/ 600 h 1355"/>
                      <a:gd name="T26" fmla="*/ 1534 w 1576"/>
                      <a:gd name="T27" fmla="*/ 449 h 1355"/>
                      <a:gd name="T28" fmla="*/ 1562 w 1576"/>
                      <a:gd name="T29" fmla="*/ 352 h 1355"/>
                      <a:gd name="T30" fmla="*/ 1552 w 1576"/>
                      <a:gd name="T31" fmla="*/ 170 h 1355"/>
                      <a:gd name="T32" fmla="*/ 1476 w 1576"/>
                      <a:gd name="T33" fmla="*/ 9 h 1355"/>
                      <a:gd name="T34" fmla="*/ 1296 w 1576"/>
                      <a:gd name="T35" fmla="*/ 77 h 1355"/>
                      <a:gd name="T36" fmla="*/ 1200 w 1576"/>
                      <a:gd name="T37" fmla="*/ 119 h 1355"/>
                      <a:gd name="T38" fmla="*/ 1113 w 1576"/>
                      <a:gd name="T39" fmla="*/ 202 h 1355"/>
                      <a:gd name="T40" fmla="*/ 1009 w 1576"/>
                      <a:gd name="T41" fmla="*/ 138 h 1355"/>
                      <a:gd name="T42" fmla="*/ 1032 w 1576"/>
                      <a:gd name="T43" fmla="*/ 256 h 1355"/>
                      <a:gd name="T44" fmla="*/ 1106 w 1576"/>
                      <a:gd name="T45" fmla="*/ 415 h 1355"/>
                      <a:gd name="T46" fmla="*/ 1127 w 1576"/>
                      <a:gd name="T47" fmla="*/ 483 h 1355"/>
                      <a:gd name="T48" fmla="*/ 1049 w 1576"/>
                      <a:gd name="T49" fmla="*/ 567 h 1355"/>
                      <a:gd name="T50" fmla="*/ 992 w 1576"/>
                      <a:gd name="T51" fmla="*/ 629 h 1355"/>
                      <a:gd name="T52" fmla="*/ 936 w 1576"/>
                      <a:gd name="T53" fmla="*/ 656 h 1355"/>
                      <a:gd name="T54" fmla="*/ 835 w 1576"/>
                      <a:gd name="T55" fmla="*/ 662 h 1355"/>
                      <a:gd name="T56" fmla="*/ 852 w 1576"/>
                      <a:gd name="T57" fmla="*/ 568 h 1355"/>
                      <a:gd name="T58" fmla="*/ 756 w 1576"/>
                      <a:gd name="T59" fmla="*/ 486 h 1355"/>
                      <a:gd name="T60" fmla="*/ 666 w 1576"/>
                      <a:gd name="T61" fmla="*/ 429 h 1355"/>
                      <a:gd name="T62" fmla="*/ 614 w 1576"/>
                      <a:gd name="T63" fmla="*/ 405 h 1355"/>
                      <a:gd name="T64" fmla="*/ 516 w 1576"/>
                      <a:gd name="T65" fmla="*/ 459 h 1355"/>
                      <a:gd name="T66" fmla="*/ 454 w 1576"/>
                      <a:gd name="T67" fmla="*/ 430 h 1355"/>
                      <a:gd name="T68" fmla="*/ 409 w 1576"/>
                      <a:gd name="T69" fmla="*/ 432 h 1355"/>
                      <a:gd name="T70" fmla="*/ 350 w 1576"/>
                      <a:gd name="T71" fmla="*/ 431 h 1355"/>
                      <a:gd name="T72" fmla="*/ 341 w 1576"/>
                      <a:gd name="T73" fmla="*/ 458 h 1355"/>
                      <a:gd name="T74" fmla="*/ 312 w 1576"/>
                      <a:gd name="T75" fmla="*/ 491 h 1355"/>
                      <a:gd name="T76" fmla="*/ 260 w 1576"/>
                      <a:gd name="T77" fmla="*/ 532 h 1355"/>
                      <a:gd name="T78" fmla="*/ 254 w 1576"/>
                      <a:gd name="T79" fmla="*/ 431 h 1355"/>
                      <a:gd name="T80" fmla="*/ 214 w 1576"/>
                      <a:gd name="T81" fmla="*/ 370 h 1355"/>
                      <a:gd name="T82" fmla="*/ 142 w 1576"/>
                      <a:gd name="T83" fmla="*/ 306 h 1355"/>
                      <a:gd name="T84" fmla="*/ 116 w 1576"/>
                      <a:gd name="T85" fmla="*/ 333 h 1355"/>
                      <a:gd name="T86" fmla="*/ 73 w 1576"/>
                      <a:gd name="T87" fmla="*/ 419 h 1355"/>
                      <a:gd name="T88" fmla="*/ 36 w 1576"/>
                      <a:gd name="T89" fmla="*/ 502 h 1355"/>
                      <a:gd name="T90" fmla="*/ 80 w 1576"/>
                      <a:gd name="T91" fmla="*/ 655 h 1355"/>
                      <a:gd name="T92" fmla="*/ 184 w 1576"/>
                      <a:gd name="T93" fmla="*/ 882 h 1355"/>
                      <a:gd name="T94" fmla="*/ 363 w 1576"/>
                      <a:gd name="T95" fmla="*/ 1020 h 1355"/>
                      <a:gd name="T96" fmla="*/ 317 w 1576"/>
                      <a:gd name="T97" fmla="*/ 1065 h 1355"/>
                      <a:gd name="T98" fmla="*/ 346 w 1576"/>
                      <a:gd name="T99" fmla="*/ 122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76" h="1355">
                        <a:moveTo>
                          <a:pt x="490" y="1285"/>
                        </a:moveTo>
                        <a:cubicBezTo>
                          <a:pt x="498" y="1289"/>
                          <a:pt x="515" y="1284"/>
                          <a:pt x="522" y="1291"/>
                        </a:cubicBezTo>
                        <a:cubicBezTo>
                          <a:pt x="529" y="1298"/>
                          <a:pt x="578" y="1305"/>
                          <a:pt x="594" y="1308"/>
                        </a:cubicBezTo>
                        <a:cubicBezTo>
                          <a:pt x="610" y="1311"/>
                          <a:pt x="627" y="1355"/>
                          <a:pt x="651" y="1342"/>
                        </a:cubicBezTo>
                        <a:cubicBezTo>
                          <a:pt x="675" y="1329"/>
                          <a:pt x="681" y="1312"/>
                          <a:pt x="695" y="1311"/>
                        </a:cubicBezTo>
                        <a:cubicBezTo>
                          <a:pt x="709" y="1310"/>
                          <a:pt x="749" y="1308"/>
                          <a:pt x="757" y="1301"/>
                        </a:cubicBezTo>
                        <a:cubicBezTo>
                          <a:pt x="765" y="1294"/>
                          <a:pt x="786" y="1276"/>
                          <a:pt x="800" y="1270"/>
                        </a:cubicBezTo>
                        <a:cubicBezTo>
                          <a:pt x="814" y="1263"/>
                          <a:pt x="825" y="1263"/>
                          <a:pt x="831" y="1252"/>
                        </a:cubicBezTo>
                        <a:cubicBezTo>
                          <a:pt x="836" y="1242"/>
                          <a:pt x="838" y="1224"/>
                          <a:pt x="841" y="1220"/>
                        </a:cubicBezTo>
                        <a:cubicBezTo>
                          <a:pt x="843" y="1216"/>
                          <a:pt x="866" y="1206"/>
                          <a:pt x="866" y="1206"/>
                        </a:cubicBezTo>
                        <a:cubicBezTo>
                          <a:pt x="866" y="1206"/>
                          <a:pt x="917" y="1259"/>
                          <a:pt x="929" y="1256"/>
                        </a:cubicBezTo>
                        <a:cubicBezTo>
                          <a:pt x="942" y="1254"/>
                          <a:pt x="951" y="1254"/>
                          <a:pt x="955" y="1246"/>
                        </a:cubicBezTo>
                        <a:cubicBezTo>
                          <a:pt x="958" y="1238"/>
                          <a:pt x="971" y="1214"/>
                          <a:pt x="985" y="1214"/>
                        </a:cubicBezTo>
                        <a:cubicBezTo>
                          <a:pt x="1000" y="1214"/>
                          <a:pt x="1020" y="1218"/>
                          <a:pt x="1020" y="1218"/>
                        </a:cubicBezTo>
                        <a:cubicBezTo>
                          <a:pt x="1020" y="1218"/>
                          <a:pt x="1050" y="1229"/>
                          <a:pt x="1055" y="1223"/>
                        </a:cubicBezTo>
                        <a:cubicBezTo>
                          <a:pt x="1061" y="1217"/>
                          <a:pt x="1073" y="1209"/>
                          <a:pt x="1080" y="1198"/>
                        </a:cubicBezTo>
                        <a:cubicBezTo>
                          <a:pt x="1087" y="1186"/>
                          <a:pt x="1068" y="1136"/>
                          <a:pt x="1088" y="1130"/>
                        </a:cubicBezTo>
                        <a:cubicBezTo>
                          <a:pt x="1108" y="1123"/>
                          <a:pt x="1124" y="1128"/>
                          <a:pt x="1124" y="1128"/>
                        </a:cubicBezTo>
                        <a:cubicBezTo>
                          <a:pt x="1137" y="1136"/>
                          <a:pt x="1137" y="1136"/>
                          <a:pt x="1137" y="1136"/>
                        </a:cubicBezTo>
                        <a:cubicBezTo>
                          <a:pt x="1137" y="1136"/>
                          <a:pt x="1169" y="1086"/>
                          <a:pt x="1181" y="1086"/>
                        </a:cubicBezTo>
                        <a:cubicBezTo>
                          <a:pt x="1193" y="1085"/>
                          <a:pt x="1280" y="1095"/>
                          <a:pt x="1302" y="1080"/>
                        </a:cubicBezTo>
                        <a:cubicBezTo>
                          <a:pt x="1324" y="1065"/>
                          <a:pt x="1328" y="1059"/>
                          <a:pt x="1332" y="1058"/>
                        </a:cubicBezTo>
                        <a:cubicBezTo>
                          <a:pt x="1337" y="1057"/>
                          <a:pt x="1349" y="1049"/>
                          <a:pt x="1351" y="1046"/>
                        </a:cubicBezTo>
                        <a:cubicBezTo>
                          <a:pt x="1354" y="1042"/>
                          <a:pt x="1363" y="1028"/>
                          <a:pt x="1356" y="1021"/>
                        </a:cubicBezTo>
                        <a:cubicBezTo>
                          <a:pt x="1349" y="1014"/>
                          <a:pt x="1339" y="1007"/>
                          <a:pt x="1338" y="1005"/>
                        </a:cubicBezTo>
                        <a:cubicBezTo>
                          <a:pt x="1338" y="1005"/>
                          <a:pt x="1338" y="1004"/>
                          <a:pt x="1337" y="1002"/>
                        </a:cubicBezTo>
                        <a:cubicBezTo>
                          <a:pt x="1336" y="996"/>
                          <a:pt x="1334" y="985"/>
                          <a:pt x="1342" y="973"/>
                        </a:cubicBezTo>
                        <a:cubicBezTo>
                          <a:pt x="1352" y="957"/>
                          <a:pt x="1367" y="956"/>
                          <a:pt x="1374" y="946"/>
                        </a:cubicBezTo>
                        <a:cubicBezTo>
                          <a:pt x="1381" y="937"/>
                          <a:pt x="1387" y="931"/>
                          <a:pt x="1386" y="928"/>
                        </a:cubicBezTo>
                        <a:cubicBezTo>
                          <a:pt x="1386" y="925"/>
                          <a:pt x="1377" y="894"/>
                          <a:pt x="1377" y="894"/>
                        </a:cubicBezTo>
                        <a:cubicBezTo>
                          <a:pt x="1377" y="894"/>
                          <a:pt x="1373" y="886"/>
                          <a:pt x="1373" y="884"/>
                        </a:cubicBezTo>
                        <a:cubicBezTo>
                          <a:pt x="1373" y="882"/>
                          <a:pt x="1372" y="851"/>
                          <a:pt x="1372" y="851"/>
                        </a:cubicBezTo>
                        <a:cubicBezTo>
                          <a:pt x="1372" y="851"/>
                          <a:pt x="1394" y="824"/>
                          <a:pt x="1399" y="823"/>
                        </a:cubicBezTo>
                        <a:cubicBezTo>
                          <a:pt x="1404" y="822"/>
                          <a:pt x="1411" y="825"/>
                          <a:pt x="1414" y="816"/>
                        </a:cubicBezTo>
                        <a:cubicBezTo>
                          <a:pt x="1416" y="807"/>
                          <a:pt x="1432" y="777"/>
                          <a:pt x="1432" y="777"/>
                        </a:cubicBezTo>
                        <a:cubicBezTo>
                          <a:pt x="1432" y="777"/>
                          <a:pt x="1425" y="708"/>
                          <a:pt x="1434" y="700"/>
                        </a:cubicBezTo>
                        <a:cubicBezTo>
                          <a:pt x="1442" y="691"/>
                          <a:pt x="1463" y="669"/>
                          <a:pt x="1465" y="666"/>
                        </a:cubicBezTo>
                        <a:cubicBezTo>
                          <a:pt x="1465" y="666"/>
                          <a:pt x="1465" y="666"/>
                          <a:pt x="1465" y="666"/>
                        </a:cubicBezTo>
                        <a:cubicBezTo>
                          <a:pt x="1468" y="660"/>
                          <a:pt x="1472" y="614"/>
                          <a:pt x="1479" y="600"/>
                        </a:cubicBezTo>
                        <a:cubicBezTo>
                          <a:pt x="1486" y="585"/>
                          <a:pt x="1483" y="570"/>
                          <a:pt x="1488" y="559"/>
                        </a:cubicBezTo>
                        <a:cubicBezTo>
                          <a:pt x="1494" y="547"/>
                          <a:pt x="1508" y="535"/>
                          <a:pt x="1511" y="521"/>
                        </a:cubicBezTo>
                        <a:cubicBezTo>
                          <a:pt x="1515" y="506"/>
                          <a:pt x="1532" y="470"/>
                          <a:pt x="1534" y="449"/>
                        </a:cubicBezTo>
                        <a:cubicBezTo>
                          <a:pt x="1535" y="429"/>
                          <a:pt x="1541" y="409"/>
                          <a:pt x="1543" y="402"/>
                        </a:cubicBezTo>
                        <a:cubicBezTo>
                          <a:pt x="1545" y="395"/>
                          <a:pt x="1545" y="374"/>
                          <a:pt x="1552" y="367"/>
                        </a:cubicBezTo>
                        <a:cubicBezTo>
                          <a:pt x="1559" y="361"/>
                          <a:pt x="1562" y="359"/>
                          <a:pt x="1562" y="352"/>
                        </a:cubicBezTo>
                        <a:cubicBezTo>
                          <a:pt x="1562" y="346"/>
                          <a:pt x="1576" y="306"/>
                          <a:pt x="1568" y="290"/>
                        </a:cubicBezTo>
                        <a:cubicBezTo>
                          <a:pt x="1560" y="275"/>
                          <a:pt x="1551" y="259"/>
                          <a:pt x="1550" y="256"/>
                        </a:cubicBezTo>
                        <a:cubicBezTo>
                          <a:pt x="1550" y="253"/>
                          <a:pt x="1554" y="177"/>
                          <a:pt x="1552" y="170"/>
                        </a:cubicBezTo>
                        <a:cubicBezTo>
                          <a:pt x="1550" y="164"/>
                          <a:pt x="1506" y="62"/>
                          <a:pt x="1507" y="48"/>
                        </a:cubicBezTo>
                        <a:cubicBezTo>
                          <a:pt x="1508" y="36"/>
                          <a:pt x="1505" y="10"/>
                          <a:pt x="1504" y="0"/>
                        </a:cubicBezTo>
                        <a:cubicBezTo>
                          <a:pt x="1494" y="2"/>
                          <a:pt x="1483" y="4"/>
                          <a:pt x="1476" y="9"/>
                        </a:cubicBezTo>
                        <a:cubicBezTo>
                          <a:pt x="1464" y="18"/>
                          <a:pt x="1394" y="13"/>
                          <a:pt x="1394" y="13"/>
                        </a:cubicBezTo>
                        <a:cubicBezTo>
                          <a:pt x="1394" y="13"/>
                          <a:pt x="1380" y="35"/>
                          <a:pt x="1363" y="38"/>
                        </a:cubicBezTo>
                        <a:cubicBezTo>
                          <a:pt x="1345" y="42"/>
                          <a:pt x="1296" y="77"/>
                          <a:pt x="1296" y="77"/>
                        </a:cubicBezTo>
                        <a:cubicBezTo>
                          <a:pt x="1272" y="77"/>
                          <a:pt x="1272" y="77"/>
                          <a:pt x="1272" y="77"/>
                        </a:cubicBezTo>
                        <a:cubicBezTo>
                          <a:pt x="1272" y="77"/>
                          <a:pt x="1266" y="89"/>
                          <a:pt x="1259" y="92"/>
                        </a:cubicBezTo>
                        <a:cubicBezTo>
                          <a:pt x="1253" y="95"/>
                          <a:pt x="1207" y="117"/>
                          <a:pt x="1200" y="119"/>
                        </a:cubicBezTo>
                        <a:cubicBezTo>
                          <a:pt x="1194" y="120"/>
                          <a:pt x="1189" y="123"/>
                          <a:pt x="1173" y="134"/>
                        </a:cubicBezTo>
                        <a:cubicBezTo>
                          <a:pt x="1158" y="145"/>
                          <a:pt x="1140" y="154"/>
                          <a:pt x="1137" y="156"/>
                        </a:cubicBezTo>
                        <a:cubicBezTo>
                          <a:pt x="1135" y="158"/>
                          <a:pt x="1124" y="210"/>
                          <a:pt x="1113" y="202"/>
                        </a:cubicBezTo>
                        <a:cubicBezTo>
                          <a:pt x="1102" y="193"/>
                          <a:pt x="1095" y="181"/>
                          <a:pt x="1094" y="176"/>
                        </a:cubicBezTo>
                        <a:cubicBezTo>
                          <a:pt x="1093" y="170"/>
                          <a:pt x="1080" y="135"/>
                          <a:pt x="1065" y="133"/>
                        </a:cubicBezTo>
                        <a:cubicBezTo>
                          <a:pt x="1051" y="132"/>
                          <a:pt x="1009" y="138"/>
                          <a:pt x="1009" y="138"/>
                        </a:cubicBezTo>
                        <a:cubicBezTo>
                          <a:pt x="1009" y="138"/>
                          <a:pt x="966" y="205"/>
                          <a:pt x="979" y="217"/>
                        </a:cubicBezTo>
                        <a:cubicBezTo>
                          <a:pt x="993" y="229"/>
                          <a:pt x="1003" y="223"/>
                          <a:pt x="1014" y="232"/>
                        </a:cubicBezTo>
                        <a:cubicBezTo>
                          <a:pt x="1025" y="241"/>
                          <a:pt x="1036" y="227"/>
                          <a:pt x="1032" y="256"/>
                        </a:cubicBezTo>
                        <a:cubicBezTo>
                          <a:pt x="1029" y="285"/>
                          <a:pt x="1036" y="295"/>
                          <a:pt x="1040" y="306"/>
                        </a:cubicBezTo>
                        <a:cubicBezTo>
                          <a:pt x="1043" y="318"/>
                          <a:pt x="1045" y="349"/>
                          <a:pt x="1053" y="353"/>
                        </a:cubicBezTo>
                        <a:cubicBezTo>
                          <a:pt x="1060" y="357"/>
                          <a:pt x="1093" y="410"/>
                          <a:pt x="1106" y="415"/>
                        </a:cubicBezTo>
                        <a:cubicBezTo>
                          <a:pt x="1120" y="420"/>
                          <a:pt x="1126" y="423"/>
                          <a:pt x="1134" y="423"/>
                        </a:cubicBezTo>
                        <a:cubicBezTo>
                          <a:pt x="1141" y="423"/>
                          <a:pt x="1159" y="430"/>
                          <a:pt x="1150" y="438"/>
                        </a:cubicBezTo>
                        <a:cubicBezTo>
                          <a:pt x="1141" y="446"/>
                          <a:pt x="1128" y="481"/>
                          <a:pt x="1127" y="483"/>
                        </a:cubicBezTo>
                        <a:cubicBezTo>
                          <a:pt x="1126" y="485"/>
                          <a:pt x="1109" y="523"/>
                          <a:pt x="1097" y="541"/>
                        </a:cubicBezTo>
                        <a:cubicBezTo>
                          <a:pt x="1086" y="559"/>
                          <a:pt x="1078" y="566"/>
                          <a:pt x="1076" y="566"/>
                        </a:cubicBezTo>
                        <a:cubicBezTo>
                          <a:pt x="1074" y="566"/>
                          <a:pt x="1050" y="564"/>
                          <a:pt x="1049" y="567"/>
                        </a:cubicBezTo>
                        <a:cubicBezTo>
                          <a:pt x="1047" y="569"/>
                          <a:pt x="1032" y="597"/>
                          <a:pt x="1020" y="610"/>
                        </a:cubicBezTo>
                        <a:cubicBezTo>
                          <a:pt x="1007" y="624"/>
                          <a:pt x="1007" y="626"/>
                          <a:pt x="1007" y="626"/>
                        </a:cubicBezTo>
                        <a:cubicBezTo>
                          <a:pt x="992" y="629"/>
                          <a:pt x="992" y="629"/>
                          <a:pt x="992" y="629"/>
                        </a:cubicBezTo>
                        <a:cubicBezTo>
                          <a:pt x="981" y="642"/>
                          <a:pt x="981" y="642"/>
                          <a:pt x="981" y="642"/>
                        </a:cubicBezTo>
                        <a:cubicBezTo>
                          <a:pt x="981" y="642"/>
                          <a:pt x="958" y="643"/>
                          <a:pt x="956" y="643"/>
                        </a:cubicBezTo>
                        <a:cubicBezTo>
                          <a:pt x="955" y="643"/>
                          <a:pt x="950" y="654"/>
                          <a:pt x="936" y="656"/>
                        </a:cubicBezTo>
                        <a:cubicBezTo>
                          <a:pt x="923" y="657"/>
                          <a:pt x="909" y="664"/>
                          <a:pt x="904" y="666"/>
                        </a:cubicBezTo>
                        <a:cubicBezTo>
                          <a:pt x="899" y="668"/>
                          <a:pt x="873" y="679"/>
                          <a:pt x="871" y="679"/>
                        </a:cubicBezTo>
                        <a:cubicBezTo>
                          <a:pt x="870" y="680"/>
                          <a:pt x="836" y="671"/>
                          <a:pt x="835" y="662"/>
                        </a:cubicBezTo>
                        <a:cubicBezTo>
                          <a:pt x="834" y="654"/>
                          <a:pt x="837" y="642"/>
                          <a:pt x="831" y="638"/>
                        </a:cubicBezTo>
                        <a:cubicBezTo>
                          <a:pt x="825" y="634"/>
                          <a:pt x="807" y="632"/>
                          <a:pt x="813" y="623"/>
                        </a:cubicBezTo>
                        <a:cubicBezTo>
                          <a:pt x="819" y="614"/>
                          <a:pt x="857" y="587"/>
                          <a:pt x="852" y="568"/>
                        </a:cubicBezTo>
                        <a:cubicBezTo>
                          <a:pt x="846" y="549"/>
                          <a:pt x="779" y="517"/>
                          <a:pt x="779" y="517"/>
                        </a:cubicBezTo>
                        <a:cubicBezTo>
                          <a:pt x="779" y="517"/>
                          <a:pt x="788" y="498"/>
                          <a:pt x="782" y="498"/>
                        </a:cubicBezTo>
                        <a:cubicBezTo>
                          <a:pt x="777" y="498"/>
                          <a:pt x="756" y="489"/>
                          <a:pt x="756" y="486"/>
                        </a:cubicBezTo>
                        <a:cubicBezTo>
                          <a:pt x="756" y="483"/>
                          <a:pt x="731" y="457"/>
                          <a:pt x="723" y="457"/>
                        </a:cubicBezTo>
                        <a:cubicBezTo>
                          <a:pt x="714" y="457"/>
                          <a:pt x="711" y="457"/>
                          <a:pt x="706" y="456"/>
                        </a:cubicBezTo>
                        <a:cubicBezTo>
                          <a:pt x="702" y="455"/>
                          <a:pt x="676" y="430"/>
                          <a:pt x="666" y="429"/>
                        </a:cubicBezTo>
                        <a:cubicBezTo>
                          <a:pt x="655" y="427"/>
                          <a:pt x="646" y="425"/>
                          <a:pt x="645" y="421"/>
                        </a:cubicBezTo>
                        <a:cubicBezTo>
                          <a:pt x="644" y="417"/>
                          <a:pt x="637" y="404"/>
                          <a:pt x="637" y="404"/>
                        </a:cubicBezTo>
                        <a:cubicBezTo>
                          <a:pt x="614" y="405"/>
                          <a:pt x="614" y="405"/>
                          <a:pt x="614" y="405"/>
                        </a:cubicBezTo>
                        <a:cubicBezTo>
                          <a:pt x="614" y="405"/>
                          <a:pt x="569" y="430"/>
                          <a:pt x="561" y="432"/>
                        </a:cubicBezTo>
                        <a:cubicBezTo>
                          <a:pt x="553" y="435"/>
                          <a:pt x="543" y="435"/>
                          <a:pt x="540" y="438"/>
                        </a:cubicBezTo>
                        <a:cubicBezTo>
                          <a:pt x="536" y="441"/>
                          <a:pt x="516" y="459"/>
                          <a:pt x="516" y="459"/>
                        </a:cubicBezTo>
                        <a:cubicBezTo>
                          <a:pt x="516" y="459"/>
                          <a:pt x="494" y="462"/>
                          <a:pt x="492" y="454"/>
                        </a:cubicBezTo>
                        <a:cubicBezTo>
                          <a:pt x="489" y="446"/>
                          <a:pt x="490" y="430"/>
                          <a:pt x="480" y="430"/>
                        </a:cubicBezTo>
                        <a:cubicBezTo>
                          <a:pt x="470" y="430"/>
                          <a:pt x="457" y="428"/>
                          <a:pt x="454" y="430"/>
                        </a:cubicBezTo>
                        <a:cubicBezTo>
                          <a:pt x="450" y="431"/>
                          <a:pt x="437" y="441"/>
                          <a:pt x="437" y="441"/>
                        </a:cubicBezTo>
                        <a:cubicBezTo>
                          <a:pt x="427" y="431"/>
                          <a:pt x="427" y="431"/>
                          <a:pt x="427" y="431"/>
                        </a:cubicBezTo>
                        <a:cubicBezTo>
                          <a:pt x="409" y="432"/>
                          <a:pt x="409" y="432"/>
                          <a:pt x="409" y="432"/>
                        </a:cubicBezTo>
                        <a:cubicBezTo>
                          <a:pt x="403" y="441"/>
                          <a:pt x="403" y="441"/>
                          <a:pt x="403" y="441"/>
                        </a:cubicBezTo>
                        <a:cubicBezTo>
                          <a:pt x="368" y="424"/>
                          <a:pt x="368" y="424"/>
                          <a:pt x="368" y="424"/>
                        </a:cubicBezTo>
                        <a:cubicBezTo>
                          <a:pt x="350" y="431"/>
                          <a:pt x="350" y="431"/>
                          <a:pt x="350" y="431"/>
                        </a:cubicBezTo>
                        <a:cubicBezTo>
                          <a:pt x="322" y="431"/>
                          <a:pt x="322" y="431"/>
                          <a:pt x="322" y="431"/>
                        </a:cubicBezTo>
                        <a:cubicBezTo>
                          <a:pt x="325" y="456"/>
                          <a:pt x="325" y="456"/>
                          <a:pt x="325" y="456"/>
                        </a:cubicBezTo>
                        <a:cubicBezTo>
                          <a:pt x="341" y="458"/>
                          <a:pt x="341" y="458"/>
                          <a:pt x="341" y="458"/>
                        </a:cubicBezTo>
                        <a:cubicBezTo>
                          <a:pt x="349" y="475"/>
                          <a:pt x="349" y="475"/>
                          <a:pt x="349" y="475"/>
                        </a:cubicBezTo>
                        <a:cubicBezTo>
                          <a:pt x="349" y="475"/>
                          <a:pt x="345" y="488"/>
                          <a:pt x="336" y="490"/>
                        </a:cubicBezTo>
                        <a:cubicBezTo>
                          <a:pt x="327" y="491"/>
                          <a:pt x="312" y="491"/>
                          <a:pt x="312" y="491"/>
                        </a:cubicBezTo>
                        <a:cubicBezTo>
                          <a:pt x="312" y="491"/>
                          <a:pt x="288" y="510"/>
                          <a:pt x="288" y="515"/>
                        </a:cubicBezTo>
                        <a:cubicBezTo>
                          <a:pt x="287" y="520"/>
                          <a:pt x="282" y="529"/>
                          <a:pt x="277" y="531"/>
                        </a:cubicBezTo>
                        <a:cubicBezTo>
                          <a:pt x="273" y="532"/>
                          <a:pt x="260" y="532"/>
                          <a:pt x="260" y="532"/>
                        </a:cubicBezTo>
                        <a:cubicBezTo>
                          <a:pt x="260" y="532"/>
                          <a:pt x="252" y="507"/>
                          <a:pt x="252" y="501"/>
                        </a:cubicBezTo>
                        <a:cubicBezTo>
                          <a:pt x="251" y="496"/>
                          <a:pt x="226" y="469"/>
                          <a:pt x="235" y="459"/>
                        </a:cubicBezTo>
                        <a:cubicBezTo>
                          <a:pt x="244" y="450"/>
                          <a:pt x="254" y="431"/>
                          <a:pt x="254" y="431"/>
                        </a:cubicBezTo>
                        <a:cubicBezTo>
                          <a:pt x="254" y="431"/>
                          <a:pt x="256" y="406"/>
                          <a:pt x="248" y="401"/>
                        </a:cubicBezTo>
                        <a:cubicBezTo>
                          <a:pt x="240" y="395"/>
                          <a:pt x="228" y="394"/>
                          <a:pt x="224" y="391"/>
                        </a:cubicBezTo>
                        <a:cubicBezTo>
                          <a:pt x="220" y="388"/>
                          <a:pt x="217" y="373"/>
                          <a:pt x="214" y="370"/>
                        </a:cubicBezTo>
                        <a:cubicBezTo>
                          <a:pt x="211" y="367"/>
                          <a:pt x="190" y="347"/>
                          <a:pt x="188" y="340"/>
                        </a:cubicBezTo>
                        <a:cubicBezTo>
                          <a:pt x="186" y="332"/>
                          <a:pt x="175" y="318"/>
                          <a:pt x="162" y="313"/>
                        </a:cubicBezTo>
                        <a:cubicBezTo>
                          <a:pt x="148" y="308"/>
                          <a:pt x="142" y="306"/>
                          <a:pt x="142" y="306"/>
                        </a:cubicBezTo>
                        <a:cubicBezTo>
                          <a:pt x="142" y="306"/>
                          <a:pt x="142" y="305"/>
                          <a:pt x="141" y="303"/>
                        </a:cubicBezTo>
                        <a:cubicBezTo>
                          <a:pt x="134" y="311"/>
                          <a:pt x="126" y="318"/>
                          <a:pt x="125" y="320"/>
                        </a:cubicBezTo>
                        <a:cubicBezTo>
                          <a:pt x="123" y="323"/>
                          <a:pt x="118" y="332"/>
                          <a:pt x="116" y="333"/>
                        </a:cubicBezTo>
                        <a:cubicBezTo>
                          <a:pt x="115" y="333"/>
                          <a:pt x="102" y="336"/>
                          <a:pt x="101" y="340"/>
                        </a:cubicBezTo>
                        <a:cubicBezTo>
                          <a:pt x="101" y="343"/>
                          <a:pt x="98" y="360"/>
                          <a:pt x="94" y="373"/>
                        </a:cubicBezTo>
                        <a:cubicBezTo>
                          <a:pt x="90" y="386"/>
                          <a:pt x="80" y="411"/>
                          <a:pt x="73" y="419"/>
                        </a:cubicBezTo>
                        <a:cubicBezTo>
                          <a:pt x="66" y="426"/>
                          <a:pt x="70" y="436"/>
                          <a:pt x="64" y="449"/>
                        </a:cubicBezTo>
                        <a:cubicBezTo>
                          <a:pt x="58" y="463"/>
                          <a:pt x="53" y="455"/>
                          <a:pt x="44" y="463"/>
                        </a:cubicBezTo>
                        <a:cubicBezTo>
                          <a:pt x="36" y="471"/>
                          <a:pt x="41" y="484"/>
                          <a:pt x="36" y="502"/>
                        </a:cubicBezTo>
                        <a:cubicBezTo>
                          <a:pt x="33" y="515"/>
                          <a:pt x="12" y="537"/>
                          <a:pt x="0" y="549"/>
                        </a:cubicBezTo>
                        <a:cubicBezTo>
                          <a:pt x="21" y="590"/>
                          <a:pt x="43" y="642"/>
                          <a:pt x="43" y="642"/>
                        </a:cubicBezTo>
                        <a:cubicBezTo>
                          <a:pt x="80" y="655"/>
                          <a:pt x="80" y="655"/>
                          <a:pt x="80" y="655"/>
                        </a:cubicBezTo>
                        <a:cubicBezTo>
                          <a:pt x="85" y="709"/>
                          <a:pt x="85" y="709"/>
                          <a:pt x="85" y="709"/>
                        </a:cubicBezTo>
                        <a:cubicBezTo>
                          <a:pt x="85" y="709"/>
                          <a:pt x="179" y="830"/>
                          <a:pt x="181" y="837"/>
                        </a:cubicBezTo>
                        <a:cubicBezTo>
                          <a:pt x="183" y="844"/>
                          <a:pt x="184" y="882"/>
                          <a:pt x="184" y="882"/>
                        </a:cubicBezTo>
                        <a:cubicBezTo>
                          <a:pt x="184" y="882"/>
                          <a:pt x="224" y="947"/>
                          <a:pt x="234" y="953"/>
                        </a:cubicBezTo>
                        <a:cubicBezTo>
                          <a:pt x="244" y="959"/>
                          <a:pt x="355" y="984"/>
                          <a:pt x="355" y="984"/>
                        </a:cubicBezTo>
                        <a:cubicBezTo>
                          <a:pt x="355" y="984"/>
                          <a:pt x="367" y="1008"/>
                          <a:pt x="363" y="1020"/>
                        </a:cubicBezTo>
                        <a:cubicBezTo>
                          <a:pt x="359" y="1032"/>
                          <a:pt x="337" y="1010"/>
                          <a:pt x="329" y="1005"/>
                        </a:cubicBezTo>
                        <a:cubicBezTo>
                          <a:pt x="321" y="1000"/>
                          <a:pt x="308" y="1024"/>
                          <a:pt x="307" y="1042"/>
                        </a:cubicBezTo>
                        <a:cubicBezTo>
                          <a:pt x="306" y="1060"/>
                          <a:pt x="317" y="1065"/>
                          <a:pt x="317" y="1065"/>
                        </a:cubicBezTo>
                        <a:cubicBezTo>
                          <a:pt x="317" y="1065"/>
                          <a:pt x="334" y="1120"/>
                          <a:pt x="335" y="1129"/>
                        </a:cubicBezTo>
                        <a:cubicBezTo>
                          <a:pt x="336" y="1138"/>
                          <a:pt x="340" y="1186"/>
                          <a:pt x="342" y="1204"/>
                        </a:cubicBezTo>
                        <a:cubicBezTo>
                          <a:pt x="343" y="1210"/>
                          <a:pt x="344" y="1214"/>
                          <a:pt x="346" y="1220"/>
                        </a:cubicBezTo>
                        <a:cubicBezTo>
                          <a:pt x="370" y="1221"/>
                          <a:pt x="398" y="1225"/>
                          <a:pt x="414" y="1231"/>
                        </a:cubicBezTo>
                        <a:cubicBezTo>
                          <a:pt x="446" y="1244"/>
                          <a:pt x="482" y="1281"/>
                          <a:pt x="490" y="1285"/>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Freeform 539">
                    <a:extLst>
                      <a:ext uri="{FF2B5EF4-FFF2-40B4-BE49-F238E27FC236}">
                        <a16:creationId xmlns:a16="http://schemas.microsoft.com/office/drawing/2014/main" id="{8807C3D5-9D18-E59D-8277-CDB2FC40C92C}"/>
                      </a:ext>
                    </a:extLst>
                  </p:cNvPr>
                  <p:cNvSpPr>
                    <a:spLocks noChangeAspect="1"/>
                  </p:cNvSpPr>
                  <p:nvPr/>
                </p:nvSpPr>
                <p:spPr bwMode="auto">
                  <a:xfrm>
                    <a:off x="5651640" y="5138485"/>
                    <a:ext cx="432453" cy="496222"/>
                  </a:xfrm>
                  <a:custGeom>
                    <a:avLst/>
                    <a:gdLst>
                      <a:gd name="T0" fmla="*/ 1066 w 1106"/>
                      <a:gd name="T1" fmla="*/ 959 h 1289"/>
                      <a:gd name="T2" fmla="*/ 1049 w 1106"/>
                      <a:gd name="T3" fmla="*/ 868 h 1289"/>
                      <a:gd name="T4" fmla="*/ 1006 w 1106"/>
                      <a:gd name="T5" fmla="*/ 828 h 1289"/>
                      <a:gd name="T6" fmla="*/ 970 w 1106"/>
                      <a:gd name="T7" fmla="*/ 809 h 1289"/>
                      <a:gd name="T8" fmla="*/ 944 w 1106"/>
                      <a:gd name="T9" fmla="*/ 813 h 1289"/>
                      <a:gd name="T10" fmla="*/ 841 w 1106"/>
                      <a:gd name="T11" fmla="*/ 815 h 1289"/>
                      <a:gd name="T12" fmla="*/ 723 w 1106"/>
                      <a:gd name="T13" fmla="*/ 774 h 1289"/>
                      <a:gd name="T14" fmla="*/ 749 w 1106"/>
                      <a:gd name="T15" fmla="*/ 710 h 1289"/>
                      <a:gd name="T16" fmla="*/ 796 w 1106"/>
                      <a:gd name="T17" fmla="*/ 684 h 1289"/>
                      <a:gd name="T18" fmla="*/ 820 w 1106"/>
                      <a:gd name="T19" fmla="*/ 657 h 1289"/>
                      <a:gd name="T20" fmla="*/ 804 w 1106"/>
                      <a:gd name="T21" fmla="*/ 512 h 1289"/>
                      <a:gd name="T22" fmla="*/ 774 w 1106"/>
                      <a:gd name="T23" fmla="*/ 523 h 1289"/>
                      <a:gd name="T24" fmla="*/ 708 w 1106"/>
                      <a:gd name="T25" fmla="*/ 516 h 1289"/>
                      <a:gd name="T26" fmla="*/ 675 w 1106"/>
                      <a:gd name="T27" fmla="*/ 516 h 1289"/>
                      <a:gd name="T28" fmla="*/ 458 w 1106"/>
                      <a:gd name="T29" fmla="*/ 504 h 1289"/>
                      <a:gd name="T30" fmla="*/ 386 w 1106"/>
                      <a:gd name="T31" fmla="*/ 458 h 1289"/>
                      <a:gd name="T32" fmla="*/ 335 w 1106"/>
                      <a:gd name="T33" fmla="*/ 404 h 1289"/>
                      <a:gd name="T34" fmla="*/ 353 w 1106"/>
                      <a:gd name="T35" fmla="*/ 308 h 1289"/>
                      <a:gd name="T36" fmla="*/ 331 w 1106"/>
                      <a:gd name="T37" fmla="*/ 278 h 1289"/>
                      <a:gd name="T38" fmla="*/ 254 w 1106"/>
                      <a:gd name="T39" fmla="*/ 265 h 1289"/>
                      <a:gd name="T40" fmla="*/ 293 w 1106"/>
                      <a:gd name="T41" fmla="*/ 154 h 1289"/>
                      <a:gd name="T42" fmla="*/ 292 w 1106"/>
                      <a:gd name="T43" fmla="*/ 40 h 1289"/>
                      <a:gd name="T44" fmla="*/ 278 w 1106"/>
                      <a:gd name="T45" fmla="*/ 5 h 1289"/>
                      <a:gd name="T46" fmla="*/ 246 w 1106"/>
                      <a:gd name="T47" fmla="*/ 0 h 1289"/>
                      <a:gd name="T48" fmla="*/ 213 w 1106"/>
                      <a:gd name="T49" fmla="*/ 111 h 1289"/>
                      <a:gd name="T50" fmla="*/ 180 w 1106"/>
                      <a:gd name="T51" fmla="*/ 157 h 1289"/>
                      <a:gd name="T52" fmla="*/ 154 w 1106"/>
                      <a:gd name="T53" fmla="*/ 218 h 1289"/>
                      <a:gd name="T54" fmla="*/ 167 w 1106"/>
                      <a:gd name="T55" fmla="*/ 262 h 1289"/>
                      <a:gd name="T56" fmla="*/ 123 w 1106"/>
                      <a:gd name="T57" fmla="*/ 307 h 1289"/>
                      <a:gd name="T58" fmla="*/ 186 w 1106"/>
                      <a:gd name="T59" fmla="*/ 346 h 1289"/>
                      <a:gd name="T60" fmla="*/ 172 w 1106"/>
                      <a:gd name="T61" fmla="*/ 460 h 1289"/>
                      <a:gd name="T62" fmla="*/ 170 w 1106"/>
                      <a:gd name="T63" fmla="*/ 520 h 1289"/>
                      <a:gd name="T64" fmla="*/ 114 w 1106"/>
                      <a:gd name="T65" fmla="*/ 522 h 1289"/>
                      <a:gd name="T66" fmla="*/ 69 w 1106"/>
                      <a:gd name="T67" fmla="*/ 625 h 1289"/>
                      <a:gd name="T68" fmla="*/ 45 w 1106"/>
                      <a:gd name="T69" fmla="*/ 722 h 1289"/>
                      <a:gd name="T70" fmla="*/ 50 w 1106"/>
                      <a:gd name="T71" fmla="*/ 763 h 1289"/>
                      <a:gd name="T72" fmla="*/ 2 w 1106"/>
                      <a:gd name="T73" fmla="*/ 832 h 1289"/>
                      <a:gd name="T74" fmla="*/ 29 w 1106"/>
                      <a:gd name="T75" fmla="*/ 889 h 1289"/>
                      <a:gd name="T76" fmla="*/ 55 w 1106"/>
                      <a:gd name="T77" fmla="*/ 918 h 1289"/>
                      <a:gd name="T78" fmla="*/ 82 w 1106"/>
                      <a:gd name="T79" fmla="*/ 938 h 1289"/>
                      <a:gd name="T80" fmla="*/ 204 w 1106"/>
                      <a:gd name="T81" fmla="*/ 932 h 1289"/>
                      <a:gd name="T82" fmla="*/ 168 w 1106"/>
                      <a:gd name="T83" fmla="*/ 965 h 1289"/>
                      <a:gd name="T84" fmla="*/ 104 w 1106"/>
                      <a:gd name="T85" fmla="*/ 1008 h 1289"/>
                      <a:gd name="T86" fmla="*/ 127 w 1106"/>
                      <a:gd name="T87" fmla="*/ 1060 h 1289"/>
                      <a:gd name="T88" fmla="*/ 134 w 1106"/>
                      <a:gd name="T89" fmla="*/ 1117 h 1289"/>
                      <a:gd name="T90" fmla="*/ 113 w 1106"/>
                      <a:gd name="T91" fmla="*/ 1156 h 1289"/>
                      <a:gd name="T92" fmla="*/ 89 w 1106"/>
                      <a:gd name="T93" fmla="*/ 1237 h 1289"/>
                      <a:gd name="T94" fmla="*/ 120 w 1106"/>
                      <a:gd name="T95" fmla="*/ 1289 h 1289"/>
                      <a:gd name="T96" fmla="*/ 309 w 1106"/>
                      <a:gd name="T97" fmla="*/ 1280 h 1289"/>
                      <a:gd name="T98" fmla="*/ 453 w 1106"/>
                      <a:gd name="T99" fmla="*/ 1243 h 1289"/>
                      <a:gd name="T100" fmla="*/ 555 w 1106"/>
                      <a:gd name="T101" fmla="*/ 1233 h 1289"/>
                      <a:gd name="T102" fmla="*/ 595 w 1106"/>
                      <a:gd name="T103" fmla="*/ 1229 h 1289"/>
                      <a:gd name="T104" fmla="*/ 583 w 1106"/>
                      <a:gd name="T105" fmla="*/ 1157 h 1289"/>
                      <a:gd name="T106" fmla="*/ 622 w 1106"/>
                      <a:gd name="T107" fmla="*/ 1187 h 1289"/>
                      <a:gd name="T108" fmla="*/ 721 w 1106"/>
                      <a:gd name="T109" fmla="*/ 1159 h 1289"/>
                      <a:gd name="T110" fmla="*/ 700 w 1106"/>
                      <a:gd name="T111" fmla="*/ 1221 h 1289"/>
                      <a:gd name="T112" fmla="*/ 815 w 1106"/>
                      <a:gd name="T113" fmla="*/ 1205 h 1289"/>
                      <a:gd name="T114" fmla="*/ 860 w 1106"/>
                      <a:gd name="T115" fmla="*/ 1169 h 1289"/>
                      <a:gd name="T116" fmla="*/ 1003 w 1106"/>
                      <a:gd name="T117" fmla="*/ 1168 h 1289"/>
                      <a:gd name="T118" fmla="*/ 1097 w 1106"/>
                      <a:gd name="T119" fmla="*/ 1143 h 1289"/>
                      <a:gd name="T120" fmla="*/ 1075 w 1106"/>
                      <a:gd name="T121" fmla="*/ 1105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6" h="1289">
                        <a:moveTo>
                          <a:pt x="1075" y="1105"/>
                        </a:moveTo>
                        <a:cubicBezTo>
                          <a:pt x="1073" y="1082"/>
                          <a:pt x="1059" y="967"/>
                          <a:pt x="1066" y="959"/>
                        </a:cubicBezTo>
                        <a:cubicBezTo>
                          <a:pt x="1074" y="951"/>
                          <a:pt x="1076" y="934"/>
                          <a:pt x="1074" y="926"/>
                        </a:cubicBezTo>
                        <a:cubicBezTo>
                          <a:pt x="1073" y="919"/>
                          <a:pt x="1051" y="880"/>
                          <a:pt x="1049" y="868"/>
                        </a:cubicBezTo>
                        <a:cubicBezTo>
                          <a:pt x="1047" y="856"/>
                          <a:pt x="1053" y="854"/>
                          <a:pt x="1040" y="849"/>
                        </a:cubicBezTo>
                        <a:cubicBezTo>
                          <a:pt x="1026" y="844"/>
                          <a:pt x="1011" y="830"/>
                          <a:pt x="1006" y="828"/>
                        </a:cubicBezTo>
                        <a:cubicBezTo>
                          <a:pt x="1004" y="827"/>
                          <a:pt x="1000" y="824"/>
                          <a:pt x="996" y="821"/>
                        </a:cubicBezTo>
                        <a:cubicBezTo>
                          <a:pt x="987" y="815"/>
                          <a:pt x="974" y="806"/>
                          <a:pt x="970" y="809"/>
                        </a:cubicBezTo>
                        <a:cubicBezTo>
                          <a:pt x="964" y="814"/>
                          <a:pt x="955" y="829"/>
                          <a:pt x="955" y="827"/>
                        </a:cubicBezTo>
                        <a:cubicBezTo>
                          <a:pt x="955" y="825"/>
                          <a:pt x="946" y="813"/>
                          <a:pt x="944" y="813"/>
                        </a:cubicBezTo>
                        <a:cubicBezTo>
                          <a:pt x="942" y="813"/>
                          <a:pt x="875" y="804"/>
                          <a:pt x="875" y="804"/>
                        </a:cubicBezTo>
                        <a:cubicBezTo>
                          <a:pt x="875" y="804"/>
                          <a:pt x="847" y="815"/>
                          <a:pt x="841" y="815"/>
                        </a:cubicBezTo>
                        <a:cubicBezTo>
                          <a:pt x="835" y="815"/>
                          <a:pt x="780" y="824"/>
                          <a:pt x="774" y="822"/>
                        </a:cubicBezTo>
                        <a:cubicBezTo>
                          <a:pt x="768" y="821"/>
                          <a:pt x="714" y="791"/>
                          <a:pt x="723" y="774"/>
                        </a:cubicBezTo>
                        <a:cubicBezTo>
                          <a:pt x="732" y="756"/>
                          <a:pt x="738" y="738"/>
                          <a:pt x="738" y="738"/>
                        </a:cubicBezTo>
                        <a:cubicBezTo>
                          <a:pt x="738" y="738"/>
                          <a:pt x="734" y="723"/>
                          <a:pt x="749" y="710"/>
                        </a:cubicBezTo>
                        <a:cubicBezTo>
                          <a:pt x="764" y="696"/>
                          <a:pt x="765" y="689"/>
                          <a:pt x="775" y="689"/>
                        </a:cubicBezTo>
                        <a:cubicBezTo>
                          <a:pt x="785" y="689"/>
                          <a:pt x="791" y="692"/>
                          <a:pt x="796" y="684"/>
                        </a:cubicBezTo>
                        <a:cubicBezTo>
                          <a:pt x="802" y="677"/>
                          <a:pt x="814" y="662"/>
                          <a:pt x="814" y="662"/>
                        </a:cubicBezTo>
                        <a:cubicBezTo>
                          <a:pt x="814" y="662"/>
                          <a:pt x="820" y="664"/>
                          <a:pt x="820" y="657"/>
                        </a:cubicBezTo>
                        <a:cubicBezTo>
                          <a:pt x="821" y="650"/>
                          <a:pt x="821" y="516"/>
                          <a:pt x="821" y="516"/>
                        </a:cubicBezTo>
                        <a:cubicBezTo>
                          <a:pt x="804" y="512"/>
                          <a:pt x="804" y="512"/>
                          <a:pt x="804" y="512"/>
                        </a:cubicBezTo>
                        <a:cubicBezTo>
                          <a:pt x="799" y="510"/>
                          <a:pt x="799" y="510"/>
                          <a:pt x="799" y="510"/>
                        </a:cubicBezTo>
                        <a:cubicBezTo>
                          <a:pt x="799" y="510"/>
                          <a:pt x="807" y="534"/>
                          <a:pt x="774" y="523"/>
                        </a:cubicBezTo>
                        <a:cubicBezTo>
                          <a:pt x="740" y="512"/>
                          <a:pt x="718" y="504"/>
                          <a:pt x="718" y="504"/>
                        </a:cubicBezTo>
                        <a:cubicBezTo>
                          <a:pt x="708" y="516"/>
                          <a:pt x="708" y="516"/>
                          <a:pt x="708" y="516"/>
                        </a:cubicBezTo>
                        <a:cubicBezTo>
                          <a:pt x="695" y="501"/>
                          <a:pt x="695" y="501"/>
                          <a:pt x="695" y="501"/>
                        </a:cubicBezTo>
                        <a:cubicBezTo>
                          <a:pt x="675" y="516"/>
                          <a:pt x="675" y="516"/>
                          <a:pt x="675" y="516"/>
                        </a:cubicBezTo>
                        <a:cubicBezTo>
                          <a:pt x="668" y="508"/>
                          <a:pt x="668" y="508"/>
                          <a:pt x="668" y="508"/>
                        </a:cubicBezTo>
                        <a:cubicBezTo>
                          <a:pt x="668" y="508"/>
                          <a:pt x="464" y="508"/>
                          <a:pt x="458" y="504"/>
                        </a:cubicBezTo>
                        <a:cubicBezTo>
                          <a:pt x="452" y="501"/>
                          <a:pt x="426" y="509"/>
                          <a:pt x="418" y="497"/>
                        </a:cubicBezTo>
                        <a:cubicBezTo>
                          <a:pt x="410" y="485"/>
                          <a:pt x="387" y="465"/>
                          <a:pt x="386" y="458"/>
                        </a:cubicBezTo>
                        <a:cubicBezTo>
                          <a:pt x="386" y="452"/>
                          <a:pt x="369" y="428"/>
                          <a:pt x="369" y="428"/>
                        </a:cubicBezTo>
                        <a:cubicBezTo>
                          <a:pt x="369" y="428"/>
                          <a:pt x="325" y="420"/>
                          <a:pt x="335" y="404"/>
                        </a:cubicBezTo>
                        <a:cubicBezTo>
                          <a:pt x="345" y="387"/>
                          <a:pt x="346" y="373"/>
                          <a:pt x="350" y="369"/>
                        </a:cubicBezTo>
                        <a:cubicBezTo>
                          <a:pt x="353" y="365"/>
                          <a:pt x="350" y="310"/>
                          <a:pt x="353" y="308"/>
                        </a:cubicBezTo>
                        <a:cubicBezTo>
                          <a:pt x="356" y="307"/>
                          <a:pt x="378" y="272"/>
                          <a:pt x="369" y="268"/>
                        </a:cubicBezTo>
                        <a:cubicBezTo>
                          <a:pt x="360" y="263"/>
                          <a:pt x="331" y="278"/>
                          <a:pt x="331" y="278"/>
                        </a:cubicBezTo>
                        <a:cubicBezTo>
                          <a:pt x="315" y="268"/>
                          <a:pt x="315" y="268"/>
                          <a:pt x="315" y="268"/>
                        </a:cubicBezTo>
                        <a:cubicBezTo>
                          <a:pt x="315" y="268"/>
                          <a:pt x="253" y="268"/>
                          <a:pt x="254" y="265"/>
                        </a:cubicBezTo>
                        <a:cubicBezTo>
                          <a:pt x="254" y="262"/>
                          <a:pt x="256" y="238"/>
                          <a:pt x="256" y="238"/>
                        </a:cubicBezTo>
                        <a:cubicBezTo>
                          <a:pt x="293" y="154"/>
                          <a:pt x="293" y="154"/>
                          <a:pt x="293" y="154"/>
                        </a:cubicBezTo>
                        <a:cubicBezTo>
                          <a:pt x="293" y="154"/>
                          <a:pt x="300" y="116"/>
                          <a:pt x="306" y="90"/>
                        </a:cubicBezTo>
                        <a:cubicBezTo>
                          <a:pt x="312" y="63"/>
                          <a:pt x="296" y="53"/>
                          <a:pt x="292" y="40"/>
                        </a:cubicBezTo>
                        <a:cubicBezTo>
                          <a:pt x="290" y="30"/>
                          <a:pt x="288" y="17"/>
                          <a:pt x="283" y="10"/>
                        </a:cubicBezTo>
                        <a:cubicBezTo>
                          <a:pt x="282" y="7"/>
                          <a:pt x="280" y="6"/>
                          <a:pt x="278" y="5"/>
                        </a:cubicBezTo>
                        <a:cubicBezTo>
                          <a:pt x="273" y="3"/>
                          <a:pt x="258" y="1"/>
                          <a:pt x="246" y="0"/>
                        </a:cubicBezTo>
                        <a:cubicBezTo>
                          <a:pt x="246" y="0"/>
                          <a:pt x="246" y="0"/>
                          <a:pt x="246" y="0"/>
                        </a:cubicBezTo>
                        <a:cubicBezTo>
                          <a:pt x="244" y="3"/>
                          <a:pt x="223" y="25"/>
                          <a:pt x="215" y="34"/>
                        </a:cubicBezTo>
                        <a:cubicBezTo>
                          <a:pt x="206" y="42"/>
                          <a:pt x="213" y="111"/>
                          <a:pt x="213" y="111"/>
                        </a:cubicBezTo>
                        <a:cubicBezTo>
                          <a:pt x="213" y="111"/>
                          <a:pt x="197" y="141"/>
                          <a:pt x="195" y="150"/>
                        </a:cubicBezTo>
                        <a:cubicBezTo>
                          <a:pt x="192" y="159"/>
                          <a:pt x="185" y="156"/>
                          <a:pt x="180" y="157"/>
                        </a:cubicBezTo>
                        <a:cubicBezTo>
                          <a:pt x="175" y="158"/>
                          <a:pt x="153" y="185"/>
                          <a:pt x="153" y="185"/>
                        </a:cubicBezTo>
                        <a:cubicBezTo>
                          <a:pt x="153" y="185"/>
                          <a:pt x="154" y="216"/>
                          <a:pt x="154" y="218"/>
                        </a:cubicBezTo>
                        <a:cubicBezTo>
                          <a:pt x="154" y="220"/>
                          <a:pt x="158" y="228"/>
                          <a:pt x="158" y="228"/>
                        </a:cubicBezTo>
                        <a:cubicBezTo>
                          <a:pt x="158" y="228"/>
                          <a:pt x="167" y="259"/>
                          <a:pt x="167" y="262"/>
                        </a:cubicBezTo>
                        <a:cubicBezTo>
                          <a:pt x="168" y="265"/>
                          <a:pt x="162" y="271"/>
                          <a:pt x="155" y="280"/>
                        </a:cubicBezTo>
                        <a:cubicBezTo>
                          <a:pt x="148" y="290"/>
                          <a:pt x="133" y="291"/>
                          <a:pt x="123" y="307"/>
                        </a:cubicBezTo>
                        <a:cubicBezTo>
                          <a:pt x="115" y="319"/>
                          <a:pt x="117" y="330"/>
                          <a:pt x="118" y="336"/>
                        </a:cubicBezTo>
                        <a:cubicBezTo>
                          <a:pt x="141" y="338"/>
                          <a:pt x="182" y="342"/>
                          <a:pt x="186" y="346"/>
                        </a:cubicBezTo>
                        <a:cubicBezTo>
                          <a:pt x="192" y="351"/>
                          <a:pt x="154" y="404"/>
                          <a:pt x="154" y="414"/>
                        </a:cubicBezTo>
                        <a:cubicBezTo>
                          <a:pt x="153" y="424"/>
                          <a:pt x="169" y="449"/>
                          <a:pt x="172" y="460"/>
                        </a:cubicBezTo>
                        <a:cubicBezTo>
                          <a:pt x="176" y="470"/>
                          <a:pt x="185" y="476"/>
                          <a:pt x="182" y="479"/>
                        </a:cubicBezTo>
                        <a:cubicBezTo>
                          <a:pt x="180" y="482"/>
                          <a:pt x="176" y="508"/>
                          <a:pt x="170" y="520"/>
                        </a:cubicBezTo>
                        <a:cubicBezTo>
                          <a:pt x="164" y="532"/>
                          <a:pt x="146" y="540"/>
                          <a:pt x="146" y="542"/>
                        </a:cubicBezTo>
                        <a:cubicBezTo>
                          <a:pt x="146" y="544"/>
                          <a:pt x="121" y="524"/>
                          <a:pt x="114" y="522"/>
                        </a:cubicBezTo>
                        <a:cubicBezTo>
                          <a:pt x="108" y="520"/>
                          <a:pt x="95" y="552"/>
                          <a:pt x="92" y="562"/>
                        </a:cubicBezTo>
                        <a:cubicBezTo>
                          <a:pt x="90" y="573"/>
                          <a:pt x="80" y="602"/>
                          <a:pt x="69" y="625"/>
                        </a:cubicBezTo>
                        <a:cubicBezTo>
                          <a:pt x="58" y="648"/>
                          <a:pt x="40" y="668"/>
                          <a:pt x="38" y="676"/>
                        </a:cubicBezTo>
                        <a:cubicBezTo>
                          <a:pt x="35" y="685"/>
                          <a:pt x="43" y="714"/>
                          <a:pt x="45" y="722"/>
                        </a:cubicBezTo>
                        <a:cubicBezTo>
                          <a:pt x="47" y="730"/>
                          <a:pt x="61" y="724"/>
                          <a:pt x="66" y="728"/>
                        </a:cubicBezTo>
                        <a:cubicBezTo>
                          <a:pt x="72" y="733"/>
                          <a:pt x="62" y="752"/>
                          <a:pt x="50" y="763"/>
                        </a:cubicBezTo>
                        <a:cubicBezTo>
                          <a:pt x="39" y="774"/>
                          <a:pt x="34" y="785"/>
                          <a:pt x="27" y="792"/>
                        </a:cubicBezTo>
                        <a:cubicBezTo>
                          <a:pt x="20" y="800"/>
                          <a:pt x="4" y="815"/>
                          <a:pt x="2" y="832"/>
                        </a:cubicBezTo>
                        <a:cubicBezTo>
                          <a:pt x="0" y="848"/>
                          <a:pt x="6" y="860"/>
                          <a:pt x="12" y="861"/>
                        </a:cubicBezTo>
                        <a:cubicBezTo>
                          <a:pt x="19" y="862"/>
                          <a:pt x="29" y="889"/>
                          <a:pt x="29" y="889"/>
                        </a:cubicBezTo>
                        <a:cubicBezTo>
                          <a:pt x="29" y="889"/>
                          <a:pt x="62" y="892"/>
                          <a:pt x="66" y="897"/>
                        </a:cubicBezTo>
                        <a:cubicBezTo>
                          <a:pt x="69" y="902"/>
                          <a:pt x="54" y="908"/>
                          <a:pt x="55" y="918"/>
                        </a:cubicBezTo>
                        <a:cubicBezTo>
                          <a:pt x="56" y="927"/>
                          <a:pt x="67" y="924"/>
                          <a:pt x="67" y="924"/>
                        </a:cubicBezTo>
                        <a:cubicBezTo>
                          <a:pt x="82" y="938"/>
                          <a:pt x="82" y="938"/>
                          <a:pt x="82" y="938"/>
                        </a:cubicBezTo>
                        <a:cubicBezTo>
                          <a:pt x="82" y="938"/>
                          <a:pt x="164" y="914"/>
                          <a:pt x="180" y="913"/>
                        </a:cubicBezTo>
                        <a:cubicBezTo>
                          <a:pt x="197" y="912"/>
                          <a:pt x="204" y="932"/>
                          <a:pt x="204" y="932"/>
                        </a:cubicBezTo>
                        <a:cubicBezTo>
                          <a:pt x="204" y="932"/>
                          <a:pt x="189" y="942"/>
                          <a:pt x="186" y="942"/>
                        </a:cubicBezTo>
                        <a:cubicBezTo>
                          <a:pt x="184" y="942"/>
                          <a:pt x="174" y="955"/>
                          <a:pt x="168" y="965"/>
                        </a:cubicBezTo>
                        <a:cubicBezTo>
                          <a:pt x="161" y="975"/>
                          <a:pt x="149" y="980"/>
                          <a:pt x="142" y="980"/>
                        </a:cubicBezTo>
                        <a:cubicBezTo>
                          <a:pt x="136" y="980"/>
                          <a:pt x="110" y="1003"/>
                          <a:pt x="104" y="1008"/>
                        </a:cubicBezTo>
                        <a:cubicBezTo>
                          <a:pt x="97" y="1014"/>
                          <a:pt x="114" y="1021"/>
                          <a:pt x="119" y="1028"/>
                        </a:cubicBezTo>
                        <a:cubicBezTo>
                          <a:pt x="124" y="1034"/>
                          <a:pt x="122" y="1041"/>
                          <a:pt x="127" y="1060"/>
                        </a:cubicBezTo>
                        <a:cubicBezTo>
                          <a:pt x="132" y="1078"/>
                          <a:pt x="150" y="1097"/>
                          <a:pt x="150" y="1097"/>
                        </a:cubicBezTo>
                        <a:cubicBezTo>
                          <a:pt x="150" y="1097"/>
                          <a:pt x="136" y="1115"/>
                          <a:pt x="134" y="1117"/>
                        </a:cubicBezTo>
                        <a:cubicBezTo>
                          <a:pt x="132" y="1119"/>
                          <a:pt x="138" y="1139"/>
                          <a:pt x="138" y="1139"/>
                        </a:cubicBezTo>
                        <a:cubicBezTo>
                          <a:pt x="138" y="1139"/>
                          <a:pt x="120" y="1150"/>
                          <a:pt x="113" y="1156"/>
                        </a:cubicBezTo>
                        <a:cubicBezTo>
                          <a:pt x="106" y="1162"/>
                          <a:pt x="109" y="1171"/>
                          <a:pt x="108" y="1193"/>
                        </a:cubicBezTo>
                        <a:cubicBezTo>
                          <a:pt x="106" y="1215"/>
                          <a:pt x="90" y="1230"/>
                          <a:pt x="89" y="1237"/>
                        </a:cubicBezTo>
                        <a:cubicBezTo>
                          <a:pt x="88" y="1244"/>
                          <a:pt x="102" y="1268"/>
                          <a:pt x="114" y="1279"/>
                        </a:cubicBezTo>
                        <a:cubicBezTo>
                          <a:pt x="116" y="1282"/>
                          <a:pt x="118" y="1285"/>
                          <a:pt x="120" y="1289"/>
                        </a:cubicBezTo>
                        <a:cubicBezTo>
                          <a:pt x="130" y="1287"/>
                          <a:pt x="141" y="1285"/>
                          <a:pt x="150" y="1283"/>
                        </a:cubicBezTo>
                        <a:cubicBezTo>
                          <a:pt x="174" y="1278"/>
                          <a:pt x="309" y="1280"/>
                          <a:pt x="309" y="1280"/>
                        </a:cubicBezTo>
                        <a:cubicBezTo>
                          <a:pt x="309" y="1280"/>
                          <a:pt x="312" y="1270"/>
                          <a:pt x="314" y="1265"/>
                        </a:cubicBezTo>
                        <a:cubicBezTo>
                          <a:pt x="316" y="1260"/>
                          <a:pt x="452" y="1246"/>
                          <a:pt x="453" y="1243"/>
                        </a:cubicBezTo>
                        <a:cubicBezTo>
                          <a:pt x="454" y="1240"/>
                          <a:pt x="460" y="1223"/>
                          <a:pt x="460" y="1223"/>
                        </a:cubicBezTo>
                        <a:cubicBezTo>
                          <a:pt x="555" y="1233"/>
                          <a:pt x="555" y="1233"/>
                          <a:pt x="555" y="1233"/>
                        </a:cubicBezTo>
                        <a:cubicBezTo>
                          <a:pt x="561" y="1243"/>
                          <a:pt x="561" y="1243"/>
                          <a:pt x="561" y="1243"/>
                        </a:cubicBezTo>
                        <a:cubicBezTo>
                          <a:pt x="595" y="1229"/>
                          <a:pt x="595" y="1229"/>
                          <a:pt x="595" y="1229"/>
                        </a:cubicBezTo>
                        <a:cubicBezTo>
                          <a:pt x="595" y="1229"/>
                          <a:pt x="562" y="1167"/>
                          <a:pt x="562" y="1164"/>
                        </a:cubicBezTo>
                        <a:cubicBezTo>
                          <a:pt x="562" y="1161"/>
                          <a:pt x="565" y="1160"/>
                          <a:pt x="583" y="1157"/>
                        </a:cubicBezTo>
                        <a:cubicBezTo>
                          <a:pt x="601" y="1154"/>
                          <a:pt x="597" y="1187"/>
                          <a:pt x="597" y="1187"/>
                        </a:cubicBezTo>
                        <a:cubicBezTo>
                          <a:pt x="597" y="1187"/>
                          <a:pt x="615" y="1187"/>
                          <a:pt x="622" y="1187"/>
                        </a:cubicBezTo>
                        <a:cubicBezTo>
                          <a:pt x="629" y="1187"/>
                          <a:pt x="682" y="1152"/>
                          <a:pt x="687" y="1151"/>
                        </a:cubicBezTo>
                        <a:cubicBezTo>
                          <a:pt x="692" y="1150"/>
                          <a:pt x="708" y="1145"/>
                          <a:pt x="721" y="1159"/>
                        </a:cubicBezTo>
                        <a:cubicBezTo>
                          <a:pt x="734" y="1173"/>
                          <a:pt x="703" y="1197"/>
                          <a:pt x="703" y="1197"/>
                        </a:cubicBezTo>
                        <a:cubicBezTo>
                          <a:pt x="700" y="1221"/>
                          <a:pt x="700" y="1221"/>
                          <a:pt x="700" y="1221"/>
                        </a:cubicBezTo>
                        <a:cubicBezTo>
                          <a:pt x="700" y="1221"/>
                          <a:pt x="743" y="1228"/>
                          <a:pt x="746" y="1228"/>
                        </a:cubicBezTo>
                        <a:cubicBezTo>
                          <a:pt x="749" y="1228"/>
                          <a:pt x="808" y="1207"/>
                          <a:pt x="815" y="1205"/>
                        </a:cubicBezTo>
                        <a:cubicBezTo>
                          <a:pt x="822" y="1203"/>
                          <a:pt x="839" y="1203"/>
                          <a:pt x="852" y="1201"/>
                        </a:cubicBezTo>
                        <a:cubicBezTo>
                          <a:pt x="865" y="1199"/>
                          <a:pt x="854" y="1176"/>
                          <a:pt x="860" y="1169"/>
                        </a:cubicBezTo>
                        <a:cubicBezTo>
                          <a:pt x="866" y="1162"/>
                          <a:pt x="911" y="1185"/>
                          <a:pt x="922" y="1185"/>
                        </a:cubicBezTo>
                        <a:cubicBezTo>
                          <a:pt x="933" y="1185"/>
                          <a:pt x="998" y="1172"/>
                          <a:pt x="1003" y="1168"/>
                        </a:cubicBezTo>
                        <a:cubicBezTo>
                          <a:pt x="1008" y="1164"/>
                          <a:pt x="1064" y="1170"/>
                          <a:pt x="1085" y="1168"/>
                        </a:cubicBezTo>
                        <a:cubicBezTo>
                          <a:pt x="1106" y="1166"/>
                          <a:pt x="1085" y="1155"/>
                          <a:pt x="1097" y="1143"/>
                        </a:cubicBezTo>
                        <a:cubicBezTo>
                          <a:pt x="1098" y="1142"/>
                          <a:pt x="1100" y="1141"/>
                          <a:pt x="1102" y="1140"/>
                        </a:cubicBezTo>
                        <a:cubicBezTo>
                          <a:pt x="1088" y="1129"/>
                          <a:pt x="1076" y="1115"/>
                          <a:pt x="1075" y="1105"/>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C00000"/>
                      </a:solidFill>
                      <a:effectLst/>
                      <a:uLnTx/>
                      <a:uFillTx/>
                      <a:latin typeface="Calibri"/>
                      <a:ea typeface="+mn-ea"/>
                      <a:cs typeface="+mn-cs"/>
                    </a:endParaRPr>
                  </a:p>
                </p:txBody>
              </p:sp>
              <p:sp>
                <p:nvSpPr>
                  <p:cNvPr id="82" name="Freeform 540">
                    <a:extLst>
                      <a:ext uri="{FF2B5EF4-FFF2-40B4-BE49-F238E27FC236}">
                        <a16:creationId xmlns:a16="http://schemas.microsoft.com/office/drawing/2014/main" id="{163DAE69-A6E3-69B3-AD44-EA5096AFFD52}"/>
                      </a:ext>
                    </a:extLst>
                  </p:cNvPr>
                  <p:cNvSpPr>
                    <a:spLocks noChangeAspect="1"/>
                  </p:cNvSpPr>
                  <p:nvPr/>
                </p:nvSpPr>
                <p:spPr bwMode="auto">
                  <a:xfrm>
                    <a:off x="6291935" y="2583894"/>
                    <a:ext cx="848136" cy="743351"/>
                  </a:xfrm>
                  <a:custGeom>
                    <a:avLst/>
                    <a:gdLst>
                      <a:gd name="T0" fmla="*/ 630 w 2170"/>
                      <a:gd name="T1" fmla="*/ 336 h 1902"/>
                      <a:gd name="T2" fmla="*/ 421 w 2170"/>
                      <a:gd name="T3" fmla="*/ 296 h 1902"/>
                      <a:gd name="T4" fmla="*/ 322 w 2170"/>
                      <a:gd name="T5" fmla="*/ 184 h 1902"/>
                      <a:gd name="T6" fmla="*/ 193 w 2170"/>
                      <a:gd name="T7" fmla="*/ 213 h 1902"/>
                      <a:gd name="T8" fmla="*/ 4 w 2170"/>
                      <a:gd name="T9" fmla="*/ 348 h 1902"/>
                      <a:gd name="T10" fmla="*/ 113 w 2170"/>
                      <a:gd name="T11" fmla="*/ 424 h 1902"/>
                      <a:gd name="T12" fmla="*/ 178 w 2170"/>
                      <a:gd name="T13" fmla="*/ 507 h 1902"/>
                      <a:gd name="T14" fmla="*/ 232 w 2170"/>
                      <a:gd name="T15" fmla="*/ 472 h 1902"/>
                      <a:gd name="T16" fmla="*/ 382 w 2170"/>
                      <a:gd name="T17" fmla="*/ 404 h 1902"/>
                      <a:gd name="T18" fmla="*/ 505 w 2170"/>
                      <a:gd name="T19" fmla="*/ 453 h 1902"/>
                      <a:gd name="T20" fmla="*/ 562 w 2170"/>
                      <a:gd name="T21" fmla="*/ 563 h 1902"/>
                      <a:gd name="T22" fmla="*/ 607 w 2170"/>
                      <a:gd name="T23" fmla="*/ 692 h 1902"/>
                      <a:gd name="T24" fmla="*/ 721 w 2170"/>
                      <a:gd name="T25" fmla="*/ 813 h 1902"/>
                      <a:gd name="T26" fmla="*/ 809 w 2170"/>
                      <a:gd name="T27" fmla="*/ 868 h 1902"/>
                      <a:gd name="T28" fmla="*/ 897 w 2170"/>
                      <a:gd name="T29" fmla="*/ 929 h 1902"/>
                      <a:gd name="T30" fmla="*/ 964 w 2170"/>
                      <a:gd name="T31" fmla="*/ 925 h 1902"/>
                      <a:gd name="T32" fmla="*/ 912 w 2170"/>
                      <a:gd name="T33" fmla="*/ 1131 h 1902"/>
                      <a:gd name="T34" fmla="*/ 997 w 2170"/>
                      <a:gd name="T35" fmla="*/ 1191 h 1902"/>
                      <a:gd name="T36" fmla="*/ 1048 w 2170"/>
                      <a:gd name="T37" fmla="*/ 1312 h 1902"/>
                      <a:gd name="T38" fmla="*/ 1086 w 2170"/>
                      <a:gd name="T39" fmla="*/ 1384 h 1902"/>
                      <a:gd name="T40" fmla="*/ 998 w 2170"/>
                      <a:gd name="T41" fmla="*/ 1450 h 1902"/>
                      <a:gd name="T42" fmla="*/ 983 w 2170"/>
                      <a:gd name="T43" fmla="*/ 1533 h 1902"/>
                      <a:gd name="T44" fmla="*/ 1051 w 2170"/>
                      <a:gd name="T45" fmla="*/ 1538 h 1902"/>
                      <a:gd name="T46" fmla="*/ 1213 w 2170"/>
                      <a:gd name="T47" fmla="*/ 1566 h 1902"/>
                      <a:gd name="T48" fmla="*/ 1284 w 2170"/>
                      <a:gd name="T49" fmla="*/ 1631 h 1902"/>
                      <a:gd name="T50" fmla="*/ 1386 w 2170"/>
                      <a:gd name="T51" fmla="*/ 1636 h 1902"/>
                      <a:gd name="T52" fmla="*/ 1482 w 2170"/>
                      <a:gd name="T53" fmla="*/ 1631 h 1902"/>
                      <a:gd name="T54" fmla="*/ 1530 w 2170"/>
                      <a:gd name="T55" fmla="*/ 1684 h 1902"/>
                      <a:gd name="T56" fmla="*/ 1596 w 2170"/>
                      <a:gd name="T57" fmla="*/ 1878 h 1902"/>
                      <a:gd name="T58" fmla="*/ 1776 w 2170"/>
                      <a:gd name="T59" fmla="*/ 1902 h 1902"/>
                      <a:gd name="T60" fmla="*/ 1770 w 2170"/>
                      <a:gd name="T61" fmla="*/ 1800 h 1902"/>
                      <a:gd name="T62" fmla="*/ 1908 w 2170"/>
                      <a:gd name="T63" fmla="*/ 1750 h 1902"/>
                      <a:gd name="T64" fmla="*/ 1875 w 2170"/>
                      <a:gd name="T65" fmla="*/ 1661 h 1902"/>
                      <a:gd name="T66" fmla="*/ 1692 w 2170"/>
                      <a:gd name="T67" fmla="*/ 1623 h 1902"/>
                      <a:gd name="T68" fmla="*/ 1558 w 2170"/>
                      <a:gd name="T69" fmla="*/ 1530 h 1902"/>
                      <a:gd name="T70" fmla="*/ 1475 w 2170"/>
                      <a:gd name="T71" fmla="*/ 1434 h 1902"/>
                      <a:gd name="T72" fmla="*/ 1472 w 2170"/>
                      <a:gd name="T73" fmla="*/ 1322 h 1902"/>
                      <a:gd name="T74" fmla="*/ 1387 w 2170"/>
                      <a:gd name="T75" fmla="*/ 1196 h 1902"/>
                      <a:gd name="T76" fmla="*/ 1358 w 2170"/>
                      <a:gd name="T77" fmla="*/ 1134 h 1902"/>
                      <a:gd name="T78" fmla="*/ 1468 w 2170"/>
                      <a:gd name="T79" fmla="*/ 1068 h 1902"/>
                      <a:gd name="T80" fmla="*/ 1703 w 2170"/>
                      <a:gd name="T81" fmla="*/ 963 h 1902"/>
                      <a:gd name="T82" fmla="*/ 1770 w 2170"/>
                      <a:gd name="T83" fmla="*/ 907 h 1902"/>
                      <a:gd name="T84" fmla="*/ 1802 w 2170"/>
                      <a:gd name="T85" fmla="*/ 672 h 1902"/>
                      <a:gd name="T86" fmla="*/ 1871 w 2170"/>
                      <a:gd name="T87" fmla="*/ 562 h 1902"/>
                      <a:gd name="T88" fmla="*/ 2028 w 2170"/>
                      <a:gd name="T89" fmla="*/ 561 h 1902"/>
                      <a:gd name="T90" fmla="*/ 2133 w 2170"/>
                      <a:gd name="T91" fmla="*/ 501 h 1902"/>
                      <a:gd name="T92" fmla="*/ 2167 w 2170"/>
                      <a:gd name="T93" fmla="*/ 453 h 1902"/>
                      <a:gd name="T94" fmla="*/ 2106 w 2170"/>
                      <a:gd name="T95" fmla="*/ 217 h 1902"/>
                      <a:gd name="T96" fmla="*/ 1929 w 2170"/>
                      <a:gd name="T97" fmla="*/ 206 h 1902"/>
                      <a:gd name="T98" fmla="*/ 1865 w 2170"/>
                      <a:gd name="T99" fmla="*/ 158 h 1902"/>
                      <a:gd name="T100" fmla="*/ 1855 w 2170"/>
                      <a:gd name="T101" fmla="*/ 71 h 1902"/>
                      <a:gd name="T102" fmla="*/ 1768 w 2170"/>
                      <a:gd name="T103" fmla="*/ 20 h 1902"/>
                      <a:gd name="T104" fmla="*/ 1651 w 2170"/>
                      <a:gd name="T105" fmla="*/ 69 h 1902"/>
                      <a:gd name="T106" fmla="*/ 1524 w 2170"/>
                      <a:gd name="T107" fmla="*/ 194 h 1902"/>
                      <a:gd name="T108" fmla="*/ 1430 w 2170"/>
                      <a:gd name="T109" fmla="*/ 211 h 1902"/>
                      <a:gd name="T110" fmla="*/ 1271 w 2170"/>
                      <a:gd name="T111" fmla="*/ 227 h 1902"/>
                      <a:gd name="T112" fmla="*/ 1110 w 2170"/>
                      <a:gd name="T113" fmla="*/ 190 h 1902"/>
                      <a:gd name="T114" fmla="*/ 739 w 2170"/>
                      <a:gd name="T115" fmla="*/ 168 h 1902"/>
                      <a:gd name="T116" fmla="*/ 730 w 2170"/>
                      <a:gd name="T117" fmla="*/ 228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70" h="1902">
                        <a:moveTo>
                          <a:pt x="698" y="271"/>
                        </a:moveTo>
                        <a:cubicBezTo>
                          <a:pt x="696" y="287"/>
                          <a:pt x="686" y="300"/>
                          <a:pt x="682" y="302"/>
                        </a:cubicBezTo>
                        <a:cubicBezTo>
                          <a:pt x="678" y="303"/>
                          <a:pt x="634" y="333"/>
                          <a:pt x="630" y="336"/>
                        </a:cubicBezTo>
                        <a:cubicBezTo>
                          <a:pt x="626" y="340"/>
                          <a:pt x="536" y="358"/>
                          <a:pt x="536" y="358"/>
                        </a:cubicBezTo>
                        <a:cubicBezTo>
                          <a:pt x="482" y="346"/>
                          <a:pt x="482" y="346"/>
                          <a:pt x="482" y="346"/>
                        </a:cubicBezTo>
                        <a:cubicBezTo>
                          <a:pt x="482" y="346"/>
                          <a:pt x="432" y="318"/>
                          <a:pt x="421" y="296"/>
                        </a:cubicBezTo>
                        <a:cubicBezTo>
                          <a:pt x="410" y="275"/>
                          <a:pt x="381" y="269"/>
                          <a:pt x="377" y="260"/>
                        </a:cubicBezTo>
                        <a:cubicBezTo>
                          <a:pt x="373" y="250"/>
                          <a:pt x="366" y="232"/>
                          <a:pt x="356" y="214"/>
                        </a:cubicBezTo>
                        <a:cubicBezTo>
                          <a:pt x="345" y="196"/>
                          <a:pt x="326" y="184"/>
                          <a:pt x="322" y="184"/>
                        </a:cubicBezTo>
                        <a:cubicBezTo>
                          <a:pt x="319" y="184"/>
                          <a:pt x="288" y="182"/>
                          <a:pt x="274" y="190"/>
                        </a:cubicBezTo>
                        <a:cubicBezTo>
                          <a:pt x="259" y="198"/>
                          <a:pt x="270" y="200"/>
                          <a:pt x="249" y="200"/>
                        </a:cubicBezTo>
                        <a:cubicBezTo>
                          <a:pt x="228" y="201"/>
                          <a:pt x="225" y="221"/>
                          <a:pt x="193" y="213"/>
                        </a:cubicBezTo>
                        <a:cubicBezTo>
                          <a:pt x="161" y="205"/>
                          <a:pt x="88" y="179"/>
                          <a:pt x="60" y="188"/>
                        </a:cubicBezTo>
                        <a:cubicBezTo>
                          <a:pt x="32" y="196"/>
                          <a:pt x="6" y="206"/>
                          <a:pt x="6" y="226"/>
                        </a:cubicBezTo>
                        <a:cubicBezTo>
                          <a:pt x="6" y="246"/>
                          <a:pt x="0" y="338"/>
                          <a:pt x="4" y="348"/>
                        </a:cubicBezTo>
                        <a:cubicBezTo>
                          <a:pt x="7" y="359"/>
                          <a:pt x="32" y="411"/>
                          <a:pt x="60" y="412"/>
                        </a:cubicBezTo>
                        <a:cubicBezTo>
                          <a:pt x="88" y="414"/>
                          <a:pt x="114" y="416"/>
                          <a:pt x="113" y="420"/>
                        </a:cubicBezTo>
                        <a:cubicBezTo>
                          <a:pt x="113" y="420"/>
                          <a:pt x="113" y="422"/>
                          <a:pt x="113" y="424"/>
                        </a:cubicBezTo>
                        <a:cubicBezTo>
                          <a:pt x="114" y="424"/>
                          <a:pt x="114" y="424"/>
                          <a:pt x="115" y="424"/>
                        </a:cubicBezTo>
                        <a:cubicBezTo>
                          <a:pt x="123" y="428"/>
                          <a:pt x="114" y="433"/>
                          <a:pt x="127" y="452"/>
                        </a:cubicBezTo>
                        <a:cubicBezTo>
                          <a:pt x="140" y="470"/>
                          <a:pt x="179" y="502"/>
                          <a:pt x="178" y="507"/>
                        </a:cubicBezTo>
                        <a:cubicBezTo>
                          <a:pt x="178" y="512"/>
                          <a:pt x="173" y="564"/>
                          <a:pt x="182" y="564"/>
                        </a:cubicBezTo>
                        <a:cubicBezTo>
                          <a:pt x="192" y="564"/>
                          <a:pt x="213" y="559"/>
                          <a:pt x="213" y="551"/>
                        </a:cubicBezTo>
                        <a:cubicBezTo>
                          <a:pt x="213" y="543"/>
                          <a:pt x="220" y="479"/>
                          <a:pt x="232" y="472"/>
                        </a:cubicBezTo>
                        <a:cubicBezTo>
                          <a:pt x="244" y="466"/>
                          <a:pt x="276" y="428"/>
                          <a:pt x="281" y="425"/>
                        </a:cubicBezTo>
                        <a:cubicBezTo>
                          <a:pt x="286" y="422"/>
                          <a:pt x="341" y="415"/>
                          <a:pt x="357" y="410"/>
                        </a:cubicBezTo>
                        <a:cubicBezTo>
                          <a:pt x="373" y="404"/>
                          <a:pt x="371" y="401"/>
                          <a:pt x="382" y="404"/>
                        </a:cubicBezTo>
                        <a:cubicBezTo>
                          <a:pt x="394" y="408"/>
                          <a:pt x="446" y="432"/>
                          <a:pt x="455" y="432"/>
                        </a:cubicBezTo>
                        <a:cubicBezTo>
                          <a:pt x="464" y="432"/>
                          <a:pt x="472" y="421"/>
                          <a:pt x="482" y="426"/>
                        </a:cubicBezTo>
                        <a:cubicBezTo>
                          <a:pt x="492" y="430"/>
                          <a:pt x="503" y="440"/>
                          <a:pt x="505" y="453"/>
                        </a:cubicBezTo>
                        <a:cubicBezTo>
                          <a:pt x="507" y="466"/>
                          <a:pt x="488" y="478"/>
                          <a:pt x="482" y="506"/>
                        </a:cubicBezTo>
                        <a:cubicBezTo>
                          <a:pt x="477" y="533"/>
                          <a:pt x="494" y="551"/>
                          <a:pt x="507" y="552"/>
                        </a:cubicBezTo>
                        <a:cubicBezTo>
                          <a:pt x="520" y="554"/>
                          <a:pt x="559" y="557"/>
                          <a:pt x="562" y="563"/>
                        </a:cubicBezTo>
                        <a:cubicBezTo>
                          <a:pt x="566" y="569"/>
                          <a:pt x="588" y="609"/>
                          <a:pt x="578" y="618"/>
                        </a:cubicBezTo>
                        <a:cubicBezTo>
                          <a:pt x="568" y="628"/>
                          <a:pt x="558" y="634"/>
                          <a:pt x="554" y="646"/>
                        </a:cubicBezTo>
                        <a:cubicBezTo>
                          <a:pt x="551" y="659"/>
                          <a:pt x="596" y="694"/>
                          <a:pt x="607" y="692"/>
                        </a:cubicBezTo>
                        <a:cubicBezTo>
                          <a:pt x="618" y="691"/>
                          <a:pt x="663" y="654"/>
                          <a:pt x="685" y="684"/>
                        </a:cubicBezTo>
                        <a:cubicBezTo>
                          <a:pt x="707" y="714"/>
                          <a:pt x="747" y="784"/>
                          <a:pt x="743" y="785"/>
                        </a:cubicBezTo>
                        <a:cubicBezTo>
                          <a:pt x="739" y="786"/>
                          <a:pt x="721" y="806"/>
                          <a:pt x="721" y="813"/>
                        </a:cubicBezTo>
                        <a:cubicBezTo>
                          <a:pt x="721" y="820"/>
                          <a:pt x="697" y="845"/>
                          <a:pt x="708" y="859"/>
                        </a:cubicBezTo>
                        <a:cubicBezTo>
                          <a:pt x="718" y="873"/>
                          <a:pt x="772" y="898"/>
                          <a:pt x="774" y="892"/>
                        </a:cubicBezTo>
                        <a:cubicBezTo>
                          <a:pt x="776" y="887"/>
                          <a:pt x="798" y="864"/>
                          <a:pt x="809" y="868"/>
                        </a:cubicBezTo>
                        <a:cubicBezTo>
                          <a:pt x="820" y="871"/>
                          <a:pt x="848" y="885"/>
                          <a:pt x="841" y="896"/>
                        </a:cubicBezTo>
                        <a:cubicBezTo>
                          <a:pt x="834" y="906"/>
                          <a:pt x="818" y="915"/>
                          <a:pt x="827" y="920"/>
                        </a:cubicBezTo>
                        <a:cubicBezTo>
                          <a:pt x="836" y="924"/>
                          <a:pt x="896" y="931"/>
                          <a:pt x="897" y="929"/>
                        </a:cubicBezTo>
                        <a:cubicBezTo>
                          <a:pt x="898" y="927"/>
                          <a:pt x="909" y="878"/>
                          <a:pt x="916" y="873"/>
                        </a:cubicBezTo>
                        <a:cubicBezTo>
                          <a:pt x="924" y="868"/>
                          <a:pt x="930" y="868"/>
                          <a:pt x="932" y="869"/>
                        </a:cubicBezTo>
                        <a:cubicBezTo>
                          <a:pt x="935" y="870"/>
                          <a:pt x="960" y="902"/>
                          <a:pt x="964" y="925"/>
                        </a:cubicBezTo>
                        <a:cubicBezTo>
                          <a:pt x="967" y="948"/>
                          <a:pt x="967" y="1074"/>
                          <a:pt x="965" y="1076"/>
                        </a:cubicBezTo>
                        <a:cubicBezTo>
                          <a:pt x="963" y="1078"/>
                          <a:pt x="918" y="1106"/>
                          <a:pt x="918" y="1112"/>
                        </a:cubicBezTo>
                        <a:cubicBezTo>
                          <a:pt x="918" y="1118"/>
                          <a:pt x="916" y="1130"/>
                          <a:pt x="912" y="1131"/>
                        </a:cubicBezTo>
                        <a:cubicBezTo>
                          <a:pt x="908" y="1132"/>
                          <a:pt x="902" y="1138"/>
                          <a:pt x="904" y="1148"/>
                        </a:cubicBezTo>
                        <a:cubicBezTo>
                          <a:pt x="905" y="1159"/>
                          <a:pt x="905" y="1213"/>
                          <a:pt x="946" y="1211"/>
                        </a:cubicBezTo>
                        <a:cubicBezTo>
                          <a:pt x="986" y="1209"/>
                          <a:pt x="992" y="1179"/>
                          <a:pt x="997" y="1191"/>
                        </a:cubicBezTo>
                        <a:cubicBezTo>
                          <a:pt x="1002" y="1203"/>
                          <a:pt x="1006" y="1220"/>
                          <a:pt x="996" y="1226"/>
                        </a:cubicBezTo>
                        <a:cubicBezTo>
                          <a:pt x="986" y="1231"/>
                          <a:pt x="978" y="1243"/>
                          <a:pt x="978" y="1249"/>
                        </a:cubicBezTo>
                        <a:cubicBezTo>
                          <a:pt x="978" y="1255"/>
                          <a:pt x="1046" y="1300"/>
                          <a:pt x="1048" y="1312"/>
                        </a:cubicBezTo>
                        <a:cubicBezTo>
                          <a:pt x="1050" y="1324"/>
                          <a:pt x="1053" y="1332"/>
                          <a:pt x="1056" y="1332"/>
                        </a:cubicBezTo>
                        <a:cubicBezTo>
                          <a:pt x="1060" y="1333"/>
                          <a:pt x="1106" y="1339"/>
                          <a:pt x="1106" y="1339"/>
                        </a:cubicBezTo>
                        <a:cubicBezTo>
                          <a:pt x="1106" y="1339"/>
                          <a:pt x="1103" y="1369"/>
                          <a:pt x="1086" y="1384"/>
                        </a:cubicBezTo>
                        <a:cubicBezTo>
                          <a:pt x="1068" y="1398"/>
                          <a:pt x="1057" y="1410"/>
                          <a:pt x="1057" y="1410"/>
                        </a:cubicBezTo>
                        <a:cubicBezTo>
                          <a:pt x="1057" y="1410"/>
                          <a:pt x="1038" y="1409"/>
                          <a:pt x="1033" y="1409"/>
                        </a:cubicBezTo>
                        <a:cubicBezTo>
                          <a:pt x="1028" y="1409"/>
                          <a:pt x="999" y="1439"/>
                          <a:pt x="998" y="1450"/>
                        </a:cubicBezTo>
                        <a:cubicBezTo>
                          <a:pt x="996" y="1462"/>
                          <a:pt x="983" y="1463"/>
                          <a:pt x="985" y="1475"/>
                        </a:cubicBezTo>
                        <a:cubicBezTo>
                          <a:pt x="987" y="1487"/>
                          <a:pt x="996" y="1494"/>
                          <a:pt x="996" y="1500"/>
                        </a:cubicBezTo>
                        <a:cubicBezTo>
                          <a:pt x="996" y="1505"/>
                          <a:pt x="988" y="1522"/>
                          <a:pt x="983" y="1533"/>
                        </a:cubicBezTo>
                        <a:cubicBezTo>
                          <a:pt x="988" y="1536"/>
                          <a:pt x="993" y="1540"/>
                          <a:pt x="1000" y="1542"/>
                        </a:cubicBezTo>
                        <a:cubicBezTo>
                          <a:pt x="1010" y="1544"/>
                          <a:pt x="1003" y="1535"/>
                          <a:pt x="1011" y="1531"/>
                        </a:cubicBezTo>
                        <a:cubicBezTo>
                          <a:pt x="1019" y="1527"/>
                          <a:pt x="1031" y="1538"/>
                          <a:pt x="1051" y="1538"/>
                        </a:cubicBezTo>
                        <a:cubicBezTo>
                          <a:pt x="1071" y="1538"/>
                          <a:pt x="1076" y="1545"/>
                          <a:pt x="1096" y="1550"/>
                        </a:cubicBezTo>
                        <a:cubicBezTo>
                          <a:pt x="1116" y="1556"/>
                          <a:pt x="1162" y="1587"/>
                          <a:pt x="1178" y="1589"/>
                        </a:cubicBezTo>
                        <a:cubicBezTo>
                          <a:pt x="1194" y="1591"/>
                          <a:pt x="1205" y="1572"/>
                          <a:pt x="1213" y="1566"/>
                        </a:cubicBezTo>
                        <a:cubicBezTo>
                          <a:pt x="1221" y="1560"/>
                          <a:pt x="1252" y="1566"/>
                          <a:pt x="1257" y="1568"/>
                        </a:cubicBezTo>
                        <a:cubicBezTo>
                          <a:pt x="1262" y="1571"/>
                          <a:pt x="1270" y="1588"/>
                          <a:pt x="1272" y="1604"/>
                        </a:cubicBezTo>
                        <a:cubicBezTo>
                          <a:pt x="1274" y="1620"/>
                          <a:pt x="1284" y="1623"/>
                          <a:pt x="1284" y="1631"/>
                        </a:cubicBezTo>
                        <a:cubicBezTo>
                          <a:pt x="1284" y="1639"/>
                          <a:pt x="1304" y="1643"/>
                          <a:pt x="1304" y="1643"/>
                        </a:cubicBezTo>
                        <a:cubicBezTo>
                          <a:pt x="1304" y="1643"/>
                          <a:pt x="1356" y="1643"/>
                          <a:pt x="1362" y="1642"/>
                        </a:cubicBezTo>
                        <a:cubicBezTo>
                          <a:pt x="1367" y="1642"/>
                          <a:pt x="1377" y="1640"/>
                          <a:pt x="1386" y="1636"/>
                        </a:cubicBezTo>
                        <a:cubicBezTo>
                          <a:pt x="1396" y="1631"/>
                          <a:pt x="1432" y="1608"/>
                          <a:pt x="1432" y="1608"/>
                        </a:cubicBezTo>
                        <a:cubicBezTo>
                          <a:pt x="1474" y="1610"/>
                          <a:pt x="1474" y="1610"/>
                          <a:pt x="1474" y="1610"/>
                        </a:cubicBezTo>
                        <a:cubicBezTo>
                          <a:pt x="1474" y="1610"/>
                          <a:pt x="1482" y="1624"/>
                          <a:pt x="1482" y="1631"/>
                        </a:cubicBezTo>
                        <a:cubicBezTo>
                          <a:pt x="1483" y="1638"/>
                          <a:pt x="1501" y="1650"/>
                          <a:pt x="1504" y="1650"/>
                        </a:cubicBezTo>
                        <a:cubicBezTo>
                          <a:pt x="1508" y="1650"/>
                          <a:pt x="1506" y="1664"/>
                          <a:pt x="1507" y="1668"/>
                        </a:cubicBezTo>
                        <a:cubicBezTo>
                          <a:pt x="1508" y="1672"/>
                          <a:pt x="1518" y="1674"/>
                          <a:pt x="1530" y="1684"/>
                        </a:cubicBezTo>
                        <a:cubicBezTo>
                          <a:pt x="1542" y="1695"/>
                          <a:pt x="1544" y="1732"/>
                          <a:pt x="1549" y="1752"/>
                        </a:cubicBezTo>
                        <a:cubicBezTo>
                          <a:pt x="1554" y="1772"/>
                          <a:pt x="1564" y="1833"/>
                          <a:pt x="1566" y="1854"/>
                        </a:cubicBezTo>
                        <a:cubicBezTo>
                          <a:pt x="1569" y="1874"/>
                          <a:pt x="1593" y="1878"/>
                          <a:pt x="1596" y="1878"/>
                        </a:cubicBezTo>
                        <a:cubicBezTo>
                          <a:pt x="1598" y="1878"/>
                          <a:pt x="1608" y="1870"/>
                          <a:pt x="1617" y="1866"/>
                        </a:cubicBezTo>
                        <a:cubicBezTo>
                          <a:pt x="1626" y="1862"/>
                          <a:pt x="1720" y="1880"/>
                          <a:pt x="1730" y="1879"/>
                        </a:cubicBezTo>
                        <a:cubicBezTo>
                          <a:pt x="1741" y="1878"/>
                          <a:pt x="1771" y="1902"/>
                          <a:pt x="1776" y="1902"/>
                        </a:cubicBezTo>
                        <a:cubicBezTo>
                          <a:pt x="1782" y="1902"/>
                          <a:pt x="1794" y="1902"/>
                          <a:pt x="1808" y="1902"/>
                        </a:cubicBezTo>
                        <a:cubicBezTo>
                          <a:pt x="1823" y="1902"/>
                          <a:pt x="1776" y="1860"/>
                          <a:pt x="1773" y="1859"/>
                        </a:cubicBezTo>
                        <a:cubicBezTo>
                          <a:pt x="1770" y="1858"/>
                          <a:pt x="1770" y="1808"/>
                          <a:pt x="1770" y="1800"/>
                        </a:cubicBezTo>
                        <a:cubicBezTo>
                          <a:pt x="1771" y="1793"/>
                          <a:pt x="1778" y="1791"/>
                          <a:pt x="1794" y="1782"/>
                        </a:cubicBezTo>
                        <a:cubicBezTo>
                          <a:pt x="1810" y="1772"/>
                          <a:pt x="1852" y="1764"/>
                          <a:pt x="1852" y="1764"/>
                        </a:cubicBezTo>
                        <a:cubicBezTo>
                          <a:pt x="1852" y="1764"/>
                          <a:pt x="1890" y="1758"/>
                          <a:pt x="1908" y="1750"/>
                        </a:cubicBezTo>
                        <a:cubicBezTo>
                          <a:pt x="1926" y="1741"/>
                          <a:pt x="1952" y="1694"/>
                          <a:pt x="1952" y="1694"/>
                        </a:cubicBezTo>
                        <a:cubicBezTo>
                          <a:pt x="1952" y="1694"/>
                          <a:pt x="1947" y="1680"/>
                          <a:pt x="1938" y="1674"/>
                        </a:cubicBezTo>
                        <a:cubicBezTo>
                          <a:pt x="1930" y="1667"/>
                          <a:pt x="1887" y="1661"/>
                          <a:pt x="1875" y="1661"/>
                        </a:cubicBezTo>
                        <a:cubicBezTo>
                          <a:pt x="1863" y="1661"/>
                          <a:pt x="1827" y="1652"/>
                          <a:pt x="1812" y="1648"/>
                        </a:cubicBezTo>
                        <a:cubicBezTo>
                          <a:pt x="1798" y="1645"/>
                          <a:pt x="1740" y="1622"/>
                          <a:pt x="1740" y="1622"/>
                        </a:cubicBezTo>
                        <a:cubicBezTo>
                          <a:pt x="1740" y="1622"/>
                          <a:pt x="1702" y="1622"/>
                          <a:pt x="1692" y="1623"/>
                        </a:cubicBezTo>
                        <a:cubicBezTo>
                          <a:pt x="1682" y="1624"/>
                          <a:pt x="1662" y="1618"/>
                          <a:pt x="1638" y="1618"/>
                        </a:cubicBezTo>
                        <a:cubicBezTo>
                          <a:pt x="1614" y="1618"/>
                          <a:pt x="1610" y="1590"/>
                          <a:pt x="1597" y="1582"/>
                        </a:cubicBezTo>
                        <a:cubicBezTo>
                          <a:pt x="1584" y="1575"/>
                          <a:pt x="1567" y="1540"/>
                          <a:pt x="1558" y="1530"/>
                        </a:cubicBezTo>
                        <a:cubicBezTo>
                          <a:pt x="1550" y="1520"/>
                          <a:pt x="1549" y="1491"/>
                          <a:pt x="1528" y="1478"/>
                        </a:cubicBezTo>
                        <a:cubicBezTo>
                          <a:pt x="1506" y="1466"/>
                          <a:pt x="1508" y="1440"/>
                          <a:pt x="1508" y="1440"/>
                        </a:cubicBezTo>
                        <a:cubicBezTo>
                          <a:pt x="1508" y="1440"/>
                          <a:pt x="1478" y="1437"/>
                          <a:pt x="1475" y="1434"/>
                        </a:cubicBezTo>
                        <a:cubicBezTo>
                          <a:pt x="1472" y="1430"/>
                          <a:pt x="1450" y="1404"/>
                          <a:pt x="1448" y="1396"/>
                        </a:cubicBezTo>
                        <a:cubicBezTo>
                          <a:pt x="1446" y="1389"/>
                          <a:pt x="1456" y="1386"/>
                          <a:pt x="1460" y="1382"/>
                        </a:cubicBezTo>
                        <a:cubicBezTo>
                          <a:pt x="1465" y="1377"/>
                          <a:pt x="1474" y="1326"/>
                          <a:pt x="1472" y="1322"/>
                        </a:cubicBezTo>
                        <a:cubicBezTo>
                          <a:pt x="1471" y="1318"/>
                          <a:pt x="1488" y="1288"/>
                          <a:pt x="1489" y="1286"/>
                        </a:cubicBezTo>
                        <a:cubicBezTo>
                          <a:pt x="1490" y="1283"/>
                          <a:pt x="1446" y="1191"/>
                          <a:pt x="1429" y="1182"/>
                        </a:cubicBezTo>
                        <a:cubicBezTo>
                          <a:pt x="1412" y="1174"/>
                          <a:pt x="1403" y="1195"/>
                          <a:pt x="1387" y="1196"/>
                        </a:cubicBezTo>
                        <a:cubicBezTo>
                          <a:pt x="1371" y="1198"/>
                          <a:pt x="1354" y="1201"/>
                          <a:pt x="1336" y="1199"/>
                        </a:cubicBezTo>
                        <a:cubicBezTo>
                          <a:pt x="1318" y="1197"/>
                          <a:pt x="1314" y="1168"/>
                          <a:pt x="1316" y="1160"/>
                        </a:cubicBezTo>
                        <a:cubicBezTo>
                          <a:pt x="1319" y="1152"/>
                          <a:pt x="1358" y="1134"/>
                          <a:pt x="1358" y="1134"/>
                        </a:cubicBezTo>
                        <a:cubicBezTo>
                          <a:pt x="1358" y="1134"/>
                          <a:pt x="1357" y="1108"/>
                          <a:pt x="1372" y="1093"/>
                        </a:cubicBezTo>
                        <a:cubicBezTo>
                          <a:pt x="1388" y="1078"/>
                          <a:pt x="1421" y="1065"/>
                          <a:pt x="1421" y="1065"/>
                        </a:cubicBezTo>
                        <a:cubicBezTo>
                          <a:pt x="1468" y="1068"/>
                          <a:pt x="1468" y="1068"/>
                          <a:pt x="1468" y="1068"/>
                        </a:cubicBezTo>
                        <a:cubicBezTo>
                          <a:pt x="1468" y="1068"/>
                          <a:pt x="1494" y="1058"/>
                          <a:pt x="1502" y="1053"/>
                        </a:cubicBezTo>
                        <a:cubicBezTo>
                          <a:pt x="1509" y="1048"/>
                          <a:pt x="1588" y="1018"/>
                          <a:pt x="1612" y="1001"/>
                        </a:cubicBezTo>
                        <a:cubicBezTo>
                          <a:pt x="1635" y="984"/>
                          <a:pt x="1697" y="964"/>
                          <a:pt x="1703" y="963"/>
                        </a:cubicBezTo>
                        <a:cubicBezTo>
                          <a:pt x="1709" y="962"/>
                          <a:pt x="1722" y="963"/>
                          <a:pt x="1726" y="963"/>
                        </a:cubicBezTo>
                        <a:cubicBezTo>
                          <a:pt x="1730" y="963"/>
                          <a:pt x="1725" y="950"/>
                          <a:pt x="1726" y="946"/>
                        </a:cubicBezTo>
                        <a:cubicBezTo>
                          <a:pt x="1726" y="942"/>
                          <a:pt x="1757" y="918"/>
                          <a:pt x="1770" y="907"/>
                        </a:cubicBezTo>
                        <a:cubicBezTo>
                          <a:pt x="1784" y="896"/>
                          <a:pt x="1791" y="860"/>
                          <a:pt x="1791" y="860"/>
                        </a:cubicBezTo>
                        <a:cubicBezTo>
                          <a:pt x="1791" y="860"/>
                          <a:pt x="1792" y="731"/>
                          <a:pt x="1792" y="726"/>
                        </a:cubicBezTo>
                        <a:cubicBezTo>
                          <a:pt x="1792" y="720"/>
                          <a:pt x="1793" y="683"/>
                          <a:pt x="1802" y="672"/>
                        </a:cubicBezTo>
                        <a:cubicBezTo>
                          <a:pt x="1812" y="660"/>
                          <a:pt x="1831" y="604"/>
                          <a:pt x="1833" y="600"/>
                        </a:cubicBezTo>
                        <a:cubicBezTo>
                          <a:pt x="1835" y="597"/>
                          <a:pt x="1844" y="598"/>
                          <a:pt x="1850" y="595"/>
                        </a:cubicBezTo>
                        <a:cubicBezTo>
                          <a:pt x="1857" y="592"/>
                          <a:pt x="1851" y="578"/>
                          <a:pt x="1871" y="562"/>
                        </a:cubicBezTo>
                        <a:cubicBezTo>
                          <a:pt x="1891" y="546"/>
                          <a:pt x="1970" y="546"/>
                          <a:pt x="1977" y="545"/>
                        </a:cubicBezTo>
                        <a:cubicBezTo>
                          <a:pt x="1984" y="544"/>
                          <a:pt x="2010" y="544"/>
                          <a:pt x="2010" y="544"/>
                        </a:cubicBezTo>
                        <a:cubicBezTo>
                          <a:pt x="2010" y="544"/>
                          <a:pt x="2026" y="561"/>
                          <a:pt x="2028" y="561"/>
                        </a:cubicBezTo>
                        <a:cubicBezTo>
                          <a:pt x="2030" y="561"/>
                          <a:pt x="2050" y="561"/>
                          <a:pt x="2052" y="561"/>
                        </a:cubicBezTo>
                        <a:cubicBezTo>
                          <a:pt x="2054" y="561"/>
                          <a:pt x="2069" y="536"/>
                          <a:pt x="2079" y="526"/>
                        </a:cubicBezTo>
                        <a:cubicBezTo>
                          <a:pt x="2089" y="516"/>
                          <a:pt x="2117" y="505"/>
                          <a:pt x="2133" y="501"/>
                        </a:cubicBezTo>
                        <a:cubicBezTo>
                          <a:pt x="2141" y="499"/>
                          <a:pt x="2154" y="490"/>
                          <a:pt x="2165" y="483"/>
                        </a:cubicBezTo>
                        <a:cubicBezTo>
                          <a:pt x="2160" y="481"/>
                          <a:pt x="2154" y="478"/>
                          <a:pt x="2155" y="477"/>
                        </a:cubicBezTo>
                        <a:cubicBezTo>
                          <a:pt x="2155" y="475"/>
                          <a:pt x="2165" y="462"/>
                          <a:pt x="2167" y="453"/>
                        </a:cubicBezTo>
                        <a:cubicBezTo>
                          <a:pt x="2170" y="443"/>
                          <a:pt x="2150" y="410"/>
                          <a:pt x="2146" y="344"/>
                        </a:cubicBezTo>
                        <a:cubicBezTo>
                          <a:pt x="2141" y="278"/>
                          <a:pt x="2131" y="236"/>
                          <a:pt x="2124" y="230"/>
                        </a:cubicBezTo>
                        <a:cubicBezTo>
                          <a:pt x="2118" y="225"/>
                          <a:pt x="2122" y="218"/>
                          <a:pt x="2106" y="217"/>
                        </a:cubicBezTo>
                        <a:cubicBezTo>
                          <a:pt x="2091" y="217"/>
                          <a:pt x="2030" y="218"/>
                          <a:pt x="2030" y="218"/>
                        </a:cubicBezTo>
                        <a:cubicBezTo>
                          <a:pt x="2030" y="218"/>
                          <a:pt x="1962" y="194"/>
                          <a:pt x="1954" y="195"/>
                        </a:cubicBezTo>
                        <a:cubicBezTo>
                          <a:pt x="1946" y="195"/>
                          <a:pt x="1934" y="206"/>
                          <a:pt x="1929" y="206"/>
                        </a:cubicBezTo>
                        <a:cubicBezTo>
                          <a:pt x="1924" y="207"/>
                          <a:pt x="1915" y="225"/>
                          <a:pt x="1903" y="219"/>
                        </a:cubicBezTo>
                        <a:cubicBezTo>
                          <a:pt x="1891" y="213"/>
                          <a:pt x="1873" y="193"/>
                          <a:pt x="1873" y="179"/>
                        </a:cubicBezTo>
                        <a:cubicBezTo>
                          <a:pt x="1873" y="166"/>
                          <a:pt x="1865" y="158"/>
                          <a:pt x="1865" y="158"/>
                        </a:cubicBezTo>
                        <a:cubicBezTo>
                          <a:pt x="1865" y="158"/>
                          <a:pt x="1879" y="143"/>
                          <a:pt x="1877" y="139"/>
                        </a:cubicBezTo>
                        <a:cubicBezTo>
                          <a:pt x="1876" y="136"/>
                          <a:pt x="1865" y="138"/>
                          <a:pt x="1864" y="113"/>
                        </a:cubicBezTo>
                        <a:cubicBezTo>
                          <a:pt x="1863" y="88"/>
                          <a:pt x="1858" y="89"/>
                          <a:pt x="1855" y="71"/>
                        </a:cubicBezTo>
                        <a:cubicBezTo>
                          <a:pt x="1852" y="53"/>
                          <a:pt x="1848" y="43"/>
                          <a:pt x="1841" y="29"/>
                        </a:cubicBezTo>
                        <a:cubicBezTo>
                          <a:pt x="1835" y="16"/>
                          <a:pt x="1807" y="0"/>
                          <a:pt x="1797" y="4"/>
                        </a:cubicBezTo>
                        <a:cubicBezTo>
                          <a:pt x="1787" y="8"/>
                          <a:pt x="1774" y="17"/>
                          <a:pt x="1768" y="20"/>
                        </a:cubicBezTo>
                        <a:cubicBezTo>
                          <a:pt x="1762" y="22"/>
                          <a:pt x="1743" y="35"/>
                          <a:pt x="1735" y="40"/>
                        </a:cubicBezTo>
                        <a:cubicBezTo>
                          <a:pt x="1728" y="45"/>
                          <a:pt x="1704" y="49"/>
                          <a:pt x="1690" y="56"/>
                        </a:cubicBezTo>
                        <a:cubicBezTo>
                          <a:pt x="1675" y="63"/>
                          <a:pt x="1657" y="69"/>
                          <a:pt x="1651" y="69"/>
                        </a:cubicBezTo>
                        <a:cubicBezTo>
                          <a:pt x="1645" y="69"/>
                          <a:pt x="1582" y="88"/>
                          <a:pt x="1572" y="108"/>
                        </a:cubicBezTo>
                        <a:cubicBezTo>
                          <a:pt x="1562" y="128"/>
                          <a:pt x="1561" y="151"/>
                          <a:pt x="1559" y="156"/>
                        </a:cubicBezTo>
                        <a:cubicBezTo>
                          <a:pt x="1558" y="162"/>
                          <a:pt x="1537" y="183"/>
                          <a:pt x="1524" y="194"/>
                        </a:cubicBezTo>
                        <a:cubicBezTo>
                          <a:pt x="1510" y="205"/>
                          <a:pt x="1500" y="216"/>
                          <a:pt x="1500" y="216"/>
                        </a:cubicBezTo>
                        <a:cubicBezTo>
                          <a:pt x="1500" y="216"/>
                          <a:pt x="1467" y="219"/>
                          <a:pt x="1462" y="219"/>
                        </a:cubicBezTo>
                        <a:cubicBezTo>
                          <a:pt x="1456" y="219"/>
                          <a:pt x="1441" y="211"/>
                          <a:pt x="1430" y="211"/>
                        </a:cubicBezTo>
                        <a:cubicBezTo>
                          <a:pt x="1419" y="211"/>
                          <a:pt x="1401" y="220"/>
                          <a:pt x="1401" y="220"/>
                        </a:cubicBezTo>
                        <a:cubicBezTo>
                          <a:pt x="1401" y="220"/>
                          <a:pt x="1309" y="212"/>
                          <a:pt x="1301" y="219"/>
                        </a:cubicBezTo>
                        <a:cubicBezTo>
                          <a:pt x="1294" y="226"/>
                          <a:pt x="1278" y="241"/>
                          <a:pt x="1271" y="227"/>
                        </a:cubicBezTo>
                        <a:cubicBezTo>
                          <a:pt x="1268" y="222"/>
                          <a:pt x="1267" y="212"/>
                          <a:pt x="1267" y="202"/>
                        </a:cubicBezTo>
                        <a:cubicBezTo>
                          <a:pt x="1220" y="199"/>
                          <a:pt x="1165" y="195"/>
                          <a:pt x="1156" y="195"/>
                        </a:cubicBezTo>
                        <a:cubicBezTo>
                          <a:pt x="1141" y="195"/>
                          <a:pt x="1135" y="191"/>
                          <a:pt x="1110" y="190"/>
                        </a:cubicBezTo>
                        <a:cubicBezTo>
                          <a:pt x="1085" y="189"/>
                          <a:pt x="1052" y="194"/>
                          <a:pt x="1026" y="194"/>
                        </a:cubicBezTo>
                        <a:cubicBezTo>
                          <a:pt x="1000" y="194"/>
                          <a:pt x="979" y="189"/>
                          <a:pt x="965" y="181"/>
                        </a:cubicBezTo>
                        <a:cubicBezTo>
                          <a:pt x="951" y="173"/>
                          <a:pt x="739" y="168"/>
                          <a:pt x="739" y="168"/>
                        </a:cubicBezTo>
                        <a:cubicBezTo>
                          <a:pt x="720" y="177"/>
                          <a:pt x="720" y="177"/>
                          <a:pt x="720" y="177"/>
                        </a:cubicBezTo>
                        <a:cubicBezTo>
                          <a:pt x="703" y="166"/>
                          <a:pt x="703" y="166"/>
                          <a:pt x="703" y="166"/>
                        </a:cubicBezTo>
                        <a:cubicBezTo>
                          <a:pt x="715" y="190"/>
                          <a:pt x="730" y="228"/>
                          <a:pt x="730" y="228"/>
                        </a:cubicBezTo>
                        <a:cubicBezTo>
                          <a:pt x="730" y="228"/>
                          <a:pt x="700" y="255"/>
                          <a:pt x="698" y="271"/>
                        </a:cubicBezTo>
                        <a:close/>
                      </a:path>
                    </a:pathLst>
                  </a:custGeom>
                  <a:solidFill>
                    <a:srgbClr val="FFFF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3" name="Freeform 543">
                    <a:extLst>
                      <a:ext uri="{FF2B5EF4-FFF2-40B4-BE49-F238E27FC236}">
                        <a16:creationId xmlns:a16="http://schemas.microsoft.com/office/drawing/2014/main" id="{1FAA50EC-E09A-6F04-88D3-A08D52EA22F7}"/>
                      </a:ext>
                    </a:extLst>
                  </p:cNvPr>
                  <p:cNvSpPr>
                    <a:spLocks noChangeAspect="1"/>
                  </p:cNvSpPr>
                  <p:nvPr/>
                </p:nvSpPr>
                <p:spPr bwMode="auto">
                  <a:xfrm>
                    <a:off x="6084093" y="4301954"/>
                    <a:ext cx="827772" cy="592526"/>
                  </a:xfrm>
                  <a:custGeom>
                    <a:avLst/>
                    <a:gdLst>
                      <a:gd name="T0" fmla="*/ 1907 w 2117"/>
                      <a:gd name="T1" fmla="*/ 1119 h 1520"/>
                      <a:gd name="T2" fmla="*/ 1999 w 2117"/>
                      <a:gd name="T3" fmla="*/ 927 h 1520"/>
                      <a:gd name="T4" fmla="*/ 2098 w 2117"/>
                      <a:gd name="T5" fmla="*/ 768 h 1520"/>
                      <a:gd name="T6" fmla="*/ 2062 w 2117"/>
                      <a:gd name="T7" fmla="*/ 500 h 1520"/>
                      <a:gd name="T8" fmla="*/ 1990 w 2117"/>
                      <a:gd name="T9" fmla="*/ 408 h 1520"/>
                      <a:gd name="T10" fmla="*/ 1894 w 2117"/>
                      <a:gd name="T11" fmla="*/ 339 h 1520"/>
                      <a:gd name="T12" fmla="*/ 1844 w 2117"/>
                      <a:gd name="T13" fmla="*/ 274 h 1520"/>
                      <a:gd name="T14" fmla="*/ 1616 w 2117"/>
                      <a:gd name="T15" fmla="*/ 289 h 1520"/>
                      <a:gd name="T16" fmla="*/ 1461 w 2117"/>
                      <a:gd name="T17" fmla="*/ 363 h 1520"/>
                      <a:gd name="T18" fmla="*/ 1463 w 2117"/>
                      <a:gd name="T19" fmla="*/ 261 h 1520"/>
                      <a:gd name="T20" fmla="*/ 1427 w 2117"/>
                      <a:gd name="T21" fmla="*/ 186 h 1520"/>
                      <a:gd name="T22" fmla="*/ 1399 w 2117"/>
                      <a:gd name="T23" fmla="*/ 118 h 1520"/>
                      <a:gd name="T24" fmla="*/ 1302 w 2117"/>
                      <a:gd name="T25" fmla="*/ 93 h 1520"/>
                      <a:gd name="T26" fmla="*/ 1106 w 2117"/>
                      <a:gd name="T27" fmla="*/ 60 h 1520"/>
                      <a:gd name="T28" fmla="*/ 987 w 2117"/>
                      <a:gd name="T29" fmla="*/ 25 h 1520"/>
                      <a:gd name="T30" fmla="*/ 837 w 2117"/>
                      <a:gd name="T31" fmla="*/ 36 h 1520"/>
                      <a:gd name="T32" fmla="*/ 753 w 2117"/>
                      <a:gd name="T33" fmla="*/ 125 h 1520"/>
                      <a:gd name="T34" fmla="*/ 770 w 2117"/>
                      <a:gd name="T35" fmla="*/ 216 h 1520"/>
                      <a:gd name="T36" fmla="*/ 813 w 2117"/>
                      <a:gd name="T37" fmla="*/ 329 h 1520"/>
                      <a:gd name="T38" fmla="*/ 764 w 2117"/>
                      <a:gd name="T39" fmla="*/ 331 h 1520"/>
                      <a:gd name="T40" fmla="*/ 684 w 2117"/>
                      <a:gd name="T41" fmla="*/ 290 h 1520"/>
                      <a:gd name="T42" fmla="*/ 562 w 2117"/>
                      <a:gd name="T43" fmla="*/ 238 h 1520"/>
                      <a:gd name="T44" fmla="*/ 427 w 2117"/>
                      <a:gd name="T45" fmla="*/ 185 h 1520"/>
                      <a:gd name="T46" fmla="*/ 249 w 2117"/>
                      <a:gd name="T47" fmla="*/ 152 h 1520"/>
                      <a:gd name="T48" fmla="*/ 167 w 2117"/>
                      <a:gd name="T49" fmla="*/ 122 h 1520"/>
                      <a:gd name="T50" fmla="*/ 77 w 2117"/>
                      <a:gd name="T51" fmla="*/ 199 h 1520"/>
                      <a:gd name="T52" fmla="*/ 153 w 2117"/>
                      <a:gd name="T53" fmla="*/ 335 h 1520"/>
                      <a:gd name="T54" fmla="*/ 171 w 2117"/>
                      <a:gd name="T55" fmla="*/ 576 h 1520"/>
                      <a:gd name="T56" fmla="*/ 254 w 2117"/>
                      <a:gd name="T57" fmla="*/ 703 h 1520"/>
                      <a:gd name="T58" fmla="*/ 214 w 2117"/>
                      <a:gd name="T59" fmla="*/ 785 h 1520"/>
                      <a:gd name="T60" fmla="*/ 117 w 2117"/>
                      <a:gd name="T61" fmla="*/ 889 h 1520"/>
                      <a:gd name="T62" fmla="*/ 34 w 2117"/>
                      <a:gd name="T63" fmla="*/ 957 h 1520"/>
                      <a:gd name="T64" fmla="*/ 0 w 2117"/>
                      <a:gd name="T65" fmla="*/ 1015 h 1520"/>
                      <a:gd name="T66" fmla="*/ 22 w 2117"/>
                      <a:gd name="T67" fmla="*/ 1080 h 1520"/>
                      <a:gd name="T68" fmla="*/ 108 w 2117"/>
                      <a:gd name="T69" fmla="*/ 1173 h 1520"/>
                      <a:gd name="T70" fmla="*/ 245 w 2117"/>
                      <a:gd name="T71" fmla="*/ 1145 h 1520"/>
                      <a:gd name="T72" fmla="*/ 311 w 2117"/>
                      <a:gd name="T73" fmla="*/ 1215 h 1520"/>
                      <a:gd name="T74" fmla="*/ 278 w 2117"/>
                      <a:gd name="T75" fmla="*/ 1347 h 1520"/>
                      <a:gd name="T76" fmla="*/ 319 w 2117"/>
                      <a:gd name="T77" fmla="*/ 1429 h 1520"/>
                      <a:gd name="T78" fmla="*/ 396 w 2117"/>
                      <a:gd name="T79" fmla="*/ 1444 h 1520"/>
                      <a:gd name="T80" fmla="*/ 493 w 2117"/>
                      <a:gd name="T81" fmla="*/ 1293 h 1520"/>
                      <a:gd name="T82" fmla="*/ 597 w 2117"/>
                      <a:gd name="T83" fmla="*/ 1245 h 1520"/>
                      <a:gd name="T84" fmla="*/ 654 w 2117"/>
                      <a:gd name="T85" fmla="*/ 1285 h 1520"/>
                      <a:gd name="T86" fmla="*/ 708 w 2117"/>
                      <a:gd name="T87" fmla="*/ 1364 h 1520"/>
                      <a:gd name="T88" fmla="*/ 773 w 2117"/>
                      <a:gd name="T89" fmla="*/ 1323 h 1520"/>
                      <a:gd name="T90" fmla="*/ 839 w 2117"/>
                      <a:gd name="T91" fmla="*/ 1277 h 1520"/>
                      <a:gd name="T92" fmla="*/ 991 w 2117"/>
                      <a:gd name="T93" fmla="*/ 1252 h 1520"/>
                      <a:gd name="T94" fmla="*/ 948 w 2117"/>
                      <a:gd name="T95" fmla="*/ 1205 h 1520"/>
                      <a:gd name="T96" fmla="*/ 960 w 2117"/>
                      <a:gd name="T97" fmla="*/ 1169 h 1520"/>
                      <a:gd name="T98" fmla="*/ 1015 w 2117"/>
                      <a:gd name="T99" fmla="*/ 1128 h 1520"/>
                      <a:gd name="T100" fmla="*/ 1254 w 2117"/>
                      <a:gd name="T101" fmla="*/ 1180 h 1520"/>
                      <a:gd name="T102" fmla="*/ 1310 w 2117"/>
                      <a:gd name="T103" fmla="*/ 1299 h 1520"/>
                      <a:gd name="T104" fmla="*/ 1370 w 2117"/>
                      <a:gd name="T105" fmla="*/ 1359 h 1520"/>
                      <a:gd name="T106" fmla="*/ 1603 w 2117"/>
                      <a:gd name="T107" fmla="*/ 1325 h 1520"/>
                      <a:gd name="T108" fmla="*/ 1676 w 2117"/>
                      <a:gd name="T109" fmla="*/ 1433 h 1520"/>
                      <a:gd name="T110" fmla="*/ 1793 w 2117"/>
                      <a:gd name="T111" fmla="*/ 1504 h 1520"/>
                      <a:gd name="T112" fmla="*/ 1859 w 2117"/>
                      <a:gd name="T113" fmla="*/ 1443 h 1520"/>
                      <a:gd name="T114" fmla="*/ 1904 w 2117"/>
                      <a:gd name="T115" fmla="*/ 137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17" h="1520">
                        <a:moveTo>
                          <a:pt x="1915" y="1353"/>
                        </a:moveTo>
                        <a:cubicBezTo>
                          <a:pt x="1915" y="1353"/>
                          <a:pt x="1911" y="1252"/>
                          <a:pt x="1905" y="1235"/>
                        </a:cubicBezTo>
                        <a:cubicBezTo>
                          <a:pt x="1899" y="1217"/>
                          <a:pt x="1902" y="1136"/>
                          <a:pt x="1907" y="1119"/>
                        </a:cubicBezTo>
                        <a:cubicBezTo>
                          <a:pt x="1912" y="1103"/>
                          <a:pt x="1934" y="1081"/>
                          <a:pt x="1942" y="1069"/>
                        </a:cubicBezTo>
                        <a:cubicBezTo>
                          <a:pt x="1951" y="1058"/>
                          <a:pt x="1950" y="1018"/>
                          <a:pt x="1964" y="988"/>
                        </a:cubicBezTo>
                        <a:cubicBezTo>
                          <a:pt x="1978" y="958"/>
                          <a:pt x="1986" y="931"/>
                          <a:pt x="1999" y="927"/>
                        </a:cubicBezTo>
                        <a:cubicBezTo>
                          <a:pt x="2012" y="923"/>
                          <a:pt x="2026" y="929"/>
                          <a:pt x="2044" y="917"/>
                        </a:cubicBezTo>
                        <a:cubicBezTo>
                          <a:pt x="2063" y="904"/>
                          <a:pt x="2073" y="909"/>
                          <a:pt x="2082" y="897"/>
                        </a:cubicBezTo>
                        <a:cubicBezTo>
                          <a:pt x="2090" y="884"/>
                          <a:pt x="2091" y="782"/>
                          <a:pt x="2098" y="768"/>
                        </a:cubicBezTo>
                        <a:cubicBezTo>
                          <a:pt x="2106" y="754"/>
                          <a:pt x="2117" y="665"/>
                          <a:pt x="2117" y="623"/>
                        </a:cubicBezTo>
                        <a:cubicBezTo>
                          <a:pt x="2117" y="581"/>
                          <a:pt x="2110" y="565"/>
                          <a:pt x="2109" y="562"/>
                        </a:cubicBezTo>
                        <a:cubicBezTo>
                          <a:pt x="2108" y="559"/>
                          <a:pt x="2064" y="502"/>
                          <a:pt x="2062" y="500"/>
                        </a:cubicBezTo>
                        <a:cubicBezTo>
                          <a:pt x="2060" y="498"/>
                          <a:pt x="2042" y="495"/>
                          <a:pt x="2042" y="495"/>
                        </a:cubicBezTo>
                        <a:cubicBezTo>
                          <a:pt x="2042" y="495"/>
                          <a:pt x="2026" y="462"/>
                          <a:pt x="2018" y="447"/>
                        </a:cubicBezTo>
                        <a:cubicBezTo>
                          <a:pt x="2009" y="431"/>
                          <a:pt x="2000" y="410"/>
                          <a:pt x="1990" y="408"/>
                        </a:cubicBezTo>
                        <a:cubicBezTo>
                          <a:pt x="1980" y="406"/>
                          <a:pt x="1974" y="407"/>
                          <a:pt x="1974" y="407"/>
                        </a:cubicBezTo>
                        <a:cubicBezTo>
                          <a:pt x="1974" y="407"/>
                          <a:pt x="1944" y="356"/>
                          <a:pt x="1926" y="352"/>
                        </a:cubicBezTo>
                        <a:cubicBezTo>
                          <a:pt x="1907" y="348"/>
                          <a:pt x="1896" y="344"/>
                          <a:pt x="1894" y="339"/>
                        </a:cubicBezTo>
                        <a:cubicBezTo>
                          <a:pt x="1892" y="335"/>
                          <a:pt x="1880" y="309"/>
                          <a:pt x="1870" y="307"/>
                        </a:cubicBezTo>
                        <a:cubicBezTo>
                          <a:pt x="1859" y="304"/>
                          <a:pt x="1846" y="297"/>
                          <a:pt x="1846" y="297"/>
                        </a:cubicBezTo>
                        <a:cubicBezTo>
                          <a:pt x="1846" y="297"/>
                          <a:pt x="1858" y="280"/>
                          <a:pt x="1844" y="274"/>
                        </a:cubicBezTo>
                        <a:cubicBezTo>
                          <a:pt x="1829" y="268"/>
                          <a:pt x="1751" y="256"/>
                          <a:pt x="1748" y="256"/>
                        </a:cubicBezTo>
                        <a:cubicBezTo>
                          <a:pt x="1746" y="256"/>
                          <a:pt x="1676" y="274"/>
                          <a:pt x="1658" y="279"/>
                        </a:cubicBezTo>
                        <a:cubicBezTo>
                          <a:pt x="1639" y="283"/>
                          <a:pt x="1624" y="287"/>
                          <a:pt x="1616" y="289"/>
                        </a:cubicBezTo>
                        <a:cubicBezTo>
                          <a:pt x="1609" y="291"/>
                          <a:pt x="1604" y="310"/>
                          <a:pt x="1590" y="310"/>
                        </a:cubicBezTo>
                        <a:cubicBezTo>
                          <a:pt x="1575" y="310"/>
                          <a:pt x="1545" y="307"/>
                          <a:pt x="1542" y="307"/>
                        </a:cubicBezTo>
                        <a:cubicBezTo>
                          <a:pt x="1538" y="307"/>
                          <a:pt x="1470" y="354"/>
                          <a:pt x="1461" y="363"/>
                        </a:cubicBezTo>
                        <a:cubicBezTo>
                          <a:pt x="1452" y="373"/>
                          <a:pt x="1422" y="371"/>
                          <a:pt x="1424" y="369"/>
                        </a:cubicBezTo>
                        <a:cubicBezTo>
                          <a:pt x="1427" y="367"/>
                          <a:pt x="1429" y="336"/>
                          <a:pt x="1434" y="331"/>
                        </a:cubicBezTo>
                        <a:cubicBezTo>
                          <a:pt x="1438" y="327"/>
                          <a:pt x="1459" y="277"/>
                          <a:pt x="1463" y="261"/>
                        </a:cubicBezTo>
                        <a:cubicBezTo>
                          <a:pt x="1464" y="255"/>
                          <a:pt x="1466" y="246"/>
                          <a:pt x="1467" y="238"/>
                        </a:cubicBezTo>
                        <a:cubicBezTo>
                          <a:pt x="1466" y="238"/>
                          <a:pt x="1466" y="237"/>
                          <a:pt x="1466" y="236"/>
                        </a:cubicBezTo>
                        <a:cubicBezTo>
                          <a:pt x="1464" y="227"/>
                          <a:pt x="1427" y="186"/>
                          <a:pt x="1427" y="186"/>
                        </a:cubicBezTo>
                        <a:cubicBezTo>
                          <a:pt x="1427" y="153"/>
                          <a:pt x="1427" y="153"/>
                          <a:pt x="1427" y="153"/>
                        </a:cubicBezTo>
                        <a:cubicBezTo>
                          <a:pt x="1414" y="152"/>
                          <a:pt x="1414" y="152"/>
                          <a:pt x="1414" y="152"/>
                        </a:cubicBezTo>
                        <a:cubicBezTo>
                          <a:pt x="1414" y="152"/>
                          <a:pt x="1400" y="122"/>
                          <a:pt x="1399" y="118"/>
                        </a:cubicBezTo>
                        <a:cubicBezTo>
                          <a:pt x="1398" y="114"/>
                          <a:pt x="1375" y="101"/>
                          <a:pt x="1367" y="97"/>
                        </a:cubicBezTo>
                        <a:cubicBezTo>
                          <a:pt x="1359" y="94"/>
                          <a:pt x="1348" y="77"/>
                          <a:pt x="1331" y="74"/>
                        </a:cubicBezTo>
                        <a:cubicBezTo>
                          <a:pt x="1313" y="71"/>
                          <a:pt x="1314" y="89"/>
                          <a:pt x="1302" y="93"/>
                        </a:cubicBezTo>
                        <a:cubicBezTo>
                          <a:pt x="1290" y="97"/>
                          <a:pt x="1205" y="85"/>
                          <a:pt x="1197" y="84"/>
                        </a:cubicBezTo>
                        <a:cubicBezTo>
                          <a:pt x="1188" y="84"/>
                          <a:pt x="1176" y="75"/>
                          <a:pt x="1158" y="75"/>
                        </a:cubicBezTo>
                        <a:cubicBezTo>
                          <a:pt x="1141" y="76"/>
                          <a:pt x="1110" y="62"/>
                          <a:pt x="1106" y="60"/>
                        </a:cubicBezTo>
                        <a:cubicBezTo>
                          <a:pt x="1103" y="58"/>
                          <a:pt x="1074" y="58"/>
                          <a:pt x="1060" y="54"/>
                        </a:cubicBezTo>
                        <a:cubicBezTo>
                          <a:pt x="1046" y="51"/>
                          <a:pt x="1030" y="39"/>
                          <a:pt x="1014" y="37"/>
                        </a:cubicBezTo>
                        <a:cubicBezTo>
                          <a:pt x="998" y="36"/>
                          <a:pt x="1000" y="34"/>
                          <a:pt x="987" y="25"/>
                        </a:cubicBezTo>
                        <a:cubicBezTo>
                          <a:pt x="975" y="16"/>
                          <a:pt x="937" y="2"/>
                          <a:pt x="913" y="1"/>
                        </a:cubicBezTo>
                        <a:cubicBezTo>
                          <a:pt x="890" y="0"/>
                          <a:pt x="885" y="15"/>
                          <a:pt x="877" y="17"/>
                        </a:cubicBezTo>
                        <a:cubicBezTo>
                          <a:pt x="869" y="20"/>
                          <a:pt x="851" y="22"/>
                          <a:pt x="837" y="36"/>
                        </a:cubicBezTo>
                        <a:cubicBezTo>
                          <a:pt x="822" y="50"/>
                          <a:pt x="813" y="52"/>
                          <a:pt x="806" y="54"/>
                        </a:cubicBezTo>
                        <a:cubicBezTo>
                          <a:pt x="798" y="56"/>
                          <a:pt x="799" y="65"/>
                          <a:pt x="777" y="78"/>
                        </a:cubicBezTo>
                        <a:cubicBezTo>
                          <a:pt x="754" y="90"/>
                          <a:pt x="752" y="121"/>
                          <a:pt x="753" y="125"/>
                        </a:cubicBezTo>
                        <a:cubicBezTo>
                          <a:pt x="753" y="129"/>
                          <a:pt x="747" y="136"/>
                          <a:pt x="740" y="140"/>
                        </a:cubicBezTo>
                        <a:cubicBezTo>
                          <a:pt x="733" y="144"/>
                          <a:pt x="744" y="162"/>
                          <a:pt x="745" y="168"/>
                        </a:cubicBezTo>
                        <a:cubicBezTo>
                          <a:pt x="746" y="174"/>
                          <a:pt x="769" y="210"/>
                          <a:pt x="770" y="216"/>
                        </a:cubicBezTo>
                        <a:cubicBezTo>
                          <a:pt x="770" y="222"/>
                          <a:pt x="775" y="238"/>
                          <a:pt x="781" y="248"/>
                        </a:cubicBezTo>
                        <a:cubicBezTo>
                          <a:pt x="788" y="257"/>
                          <a:pt x="797" y="283"/>
                          <a:pt x="801" y="301"/>
                        </a:cubicBezTo>
                        <a:cubicBezTo>
                          <a:pt x="804" y="319"/>
                          <a:pt x="813" y="329"/>
                          <a:pt x="813" y="329"/>
                        </a:cubicBezTo>
                        <a:cubicBezTo>
                          <a:pt x="813" y="329"/>
                          <a:pt x="808" y="346"/>
                          <a:pt x="805" y="349"/>
                        </a:cubicBezTo>
                        <a:cubicBezTo>
                          <a:pt x="802" y="352"/>
                          <a:pt x="800" y="351"/>
                          <a:pt x="790" y="351"/>
                        </a:cubicBezTo>
                        <a:cubicBezTo>
                          <a:pt x="780" y="351"/>
                          <a:pt x="770" y="336"/>
                          <a:pt x="764" y="331"/>
                        </a:cubicBezTo>
                        <a:cubicBezTo>
                          <a:pt x="757" y="326"/>
                          <a:pt x="742" y="316"/>
                          <a:pt x="738" y="315"/>
                        </a:cubicBezTo>
                        <a:cubicBezTo>
                          <a:pt x="733" y="315"/>
                          <a:pt x="715" y="312"/>
                          <a:pt x="707" y="309"/>
                        </a:cubicBezTo>
                        <a:cubicBezTo>
                          <a:pt x="700" y="306"/>
                          <a:pt x="688" y="301"/>
                          <a:pt x="684" y="290"/>
                        </a:cubicBezTo>
                        <a:cubicBezTo>
                          <a:pt x="680" y="280"/>
                          <a:pt x="669" y="272"/>
                          <a:pt x="659" y="270"/>
                        </a:cubicBezTo>
                        <a:cubicBezTo>
                          <a:pt x="648" y="268"/>
                          <a:pt x="640" y="263"/>
                          <a:pt x="625" y="259"/>
                        </a:cubicBezTo>
                        <a:cubicBezTo>
                          <a:pt x="611" y="256"/>
                          <a:pt x="574" y="238"/>
                          <a:pt x="562" y="238"/>
                        </a:cubicBezTo>
                        <a:cubicBezTo>
                          <a:pt x="549" y="238"/>
                          <a:pt x="530" y="225"/>
                          <a:pt x="512" y="217"/>
                        </a:cubicBezTo>
                        <a:cubicBezTo>
                          <a:pt x="494" y="209"/>
                          <a:pt x="484" y="202"/>
                          <a:pt x="462" y="199"/>
                        </a:cubicBezTo>
                        <a:cubicBezTo>
                          <a:pt x="441" y="196"/>
                          <a:pt x="438" y="189"/>
                          <a:pt x="427" y="185"/>
                        </a:cubicBezTo>
                        <a:cubicBezTo>
                          <a:pt x="417" y="180"/>
                          <a:pt x="384" y="175"/>
                          <a:pt x="383" y="173"/>
                        </a:cubicBezTo>
                        <a:cubicBezTo>
                          <a:pt x="381" y="172"/>
                          <a:pt x="356" y="166"/>
                          <a:pt x="340" y="165"/>
                        </a:cubicBezTo>
                        <a:cubicBezTo>
                          <a:pt x="324" y="165"/>
                          <a:pt x="252" y="153"/>
                          <a:pt x="249" y="152"/>
                        </a:cubicBezTo>
                        <a:cubicBezTo>
                          <a:pt x="246" y="152"/>
                          <a:pt x="241" y="144"/>
                          <a:pt x="237" y="139"/>
                        </a:cubicBezTo>
                        <a:cubicBezTo>
                          <a:pt x="234" y="134"/>
                          <a:pt x="208" y="139"/>
                          <a:pt x="197" y="137"/>
                        </a:cubicBezTo>
                        <a:cubicBezTo>
                          <a:pt x="187" y="136"/>
                          <a:pt x="178" y="131"/>
                          <a:pt x="167" y="122"/>
                        </a:cubicBezTo>
                        <a:cubicBezTo>
                          <a:pt x="156" y="113"/>
                          <a:pt x="103" y="99"/>
                          <a:pt x="97" y="97"/>
                        </a:cubicBezTo>
                        <a:cubicBezTo>
                          <a:pt x="95" y="97"/>
                          <a:pt x="89" y="97"/>
                          <a:pt x="83" y="97"/>
                        </a:cubicBezTo>
                        <a:cubicBezTo>
                          <a:pt x="81" y="127"/>
                          <a:pt x="79" y="189"/>
                          <a:pt x="77" y="199"/>
                        </a:cubicBezTo>
                        <a:cubicBezTo>
                          <a:pt x="75" y="213"/>
                          <a:pt x="103" y="255"/>
                          <a:pt x="112" y="267"/>
                        </a:cubicBezTo>
                        <a:cubicBezTo>
                          <a:pt x="120" y="278"/>
                          <a:pt x="121" y="300"/>
                          <a:pt x="121" y="300"/>
                        </a:cubicBezTo>
                        <a:cubicBezTo>
                          <a:pt x="121" y="300"/>
                          <a:pt x="142" y="324"/>
                          <a:pt x="153" y="335"/>
                        </a:cubicBezTo>
                        <a:cubicBezTo>
                          <a:pt x="164" y="346"/>
                          <a:pt x="173" y="389"/>
                          <a:pt x="177" y="398"/>
                        </a:cubicBezTo>
                        <a:cubicBezTo>
                          <a:pt x="181" y="407"/>
                          <a:pt x="164" y="424"/>
                          <a:pt x="164" y="424"/>
                        </a:cubicBezTo>
                        <a:cubicBezTo>
                          <a:pt x="164" y="424"/>
                          <a:pt x="178" y="563"/>
                          <a:pt x="171" y="576"/>
                        </a:cubicBezTo>
                        <a:cubicBezTo>
                          <a:pt x="165" y="588"/>
                          <a:pt x="180" y="629"/>
                          <a:pt x="182" y="634"/>
                        </a:cubicBezTo>
                        <a:cubicBezTo>
                          <a:pt x="184" y="639"/>
                          <a:pt x="235" y="678"/>
                          <a:pt x="243" y="682"/>
                        </a:cubicBezTo>
                        <a:cubicBezTo>
                          <a:pt x="251" y="686"/>
                          <a:pt x="253" y="700"/>
                          <a:pt x="254" y="703"/>
                        </a:cubicBezTo>
                        <a:cubicBezTo>
                          <a:pt x="255" y="706"/>
                          <a:pt x="252" y="716"/>
                          <a:pt x="248" y="726"/>
                        </a:cubicBezTo>
                        <a:cubicBezTo>
                          <a:pt x="245" y="736"/>
                          <a:pt x="224" y="769"/>
                          <a:pt x="225" y="774"/>
                        </a:cubicBezTo>
                        <a:cubicBezTo>
                          <a:pt x="225" y="780"/>
                          <a:pt x="216" y="783"/>
                          <a:pt x="214" y="785"/>
                        </a:cubicBezTo>
                        <a:cubicBezTo>
                          <a:pt x="211" y="787"/>
                          <a:pt x="211" y="810"/>
                          <a:pt x="210" y="822"/>
                        </a:cubicBezTo>
                        <a:cubicBezTo>
                          <a:pt x="209" y="835"/>
                          <a:pt x="190" y="865"/>
                          <a:pt x="181" y="871"/>
                        </a:cubicBezTo>
                        <a:cubicBezTo>
                          <a:pt x="172" y="877"/>
                          <a:pt x="125" y="886"/>
                          <a:pt x="117" y="889"/>
                        </a:cubicBezTo>
                        <a:cubicBezTo>
                          <a:pt x="109" y="892"/>
                          <a:pt x="99" y="893"/>
                          <a:pt x="88" y="896"/>
                        </a:cubicBezTo>
                        <a:cubicBezTo>
                          <a:pt x="78" y="900"/>
                          <a:pt x="50" y="930"/>
                          <a:pt x="42" y="930"/>
                        </a:cubicBezTo>
                        <a:cubicBezTo>
                          <a:pt x="34" y="930"/>
                          <a:pt x="37" y="952"/>
                          <a:pt x="34" y="957"/>
                        </a:cubicBezTo>
                        <a:cubicBezTo>
                          <a:pt x="30" y="962"/>
                          <a:pt x="33" y="1009"/>
                          <a:pt x="29" y="1024"/>
                        </a:cubicBezTo>
                        <a:cubicBezTo>
                          <a:pt x="26" y="1039"/>
                          <a:pt x="14" y="1020"/>
                          <a:pt x="14" y="1016"/>
                        </a:cubicBezTo>
                        <a:cubicBezTo>
                          <a:pt x="14" y="1014"/>
                          <a:pt x="8" y="1015"/>
                          <a:pt x="0" y="1015"/>
                        </a:cubicBezTo>
                        <a:cubicBezTo>
                          <a:pt x="0" y="1024"/>
                          <a:pt x="1" y="1039"/>
                          <a:pt x="2" y="1045"/>
                        </a:cubicBezTo>
                        <a:cubicBezTo>
                          <a:pt x="3" y="1056"/>
                          <a:pt x="11" y="1057"/>
                          <a:pt x="17" y="1059"/>
                        </a:cubicBezTo>
                        <a:cubicBezTo>
                          <a:pt x="22" y="1062"/>
                          <a:pt x="22" y="1080"/>
                          <a:pt x="22" y="1080"/>
                        </a:cubicBezTo>
                        <a:cubicBezTo>
                          <a:pt x="22" y="1080"/>
                          <a:pt x="51" y="1094"/>
                          <a:pt x="63" y="1102"/>
                        </a:cubicBezTo>
                        <a:cubicBezTo>
                          <a:pt x="75" y="1110"/>
                          <a:pt x="75" y="1130"/>
                          <a:pt x="73" y="1130"/>
                        </a:cubicBezTo>
                        <a:cubicBezTo>
                          <a:pt x="72" y="1129"/>
                          <a:pt x="108" y="1173"/>
                          <a:pt x="108" y="1173"/>
                        </a:cubicBezTo>
                        <a:cubicBezTo>
                          <a:pt x="157" y="1177"/>
                          <a:pt x="157" y="1177"/>
                          <a:pt x="157" y="1177"/>
                        </a:cubicBezTo>
                        <a:cubicBezTo>
                          <a:pt x="202" y="1143"/>
                          <a:pt x="202" y="1143"/>
                          <a:pt x="202" y="1143"/>
                        </a:cubicBezTo>
                        <a:cubicBezTo>
                          <a:pt x="202" y="1143"/>
                          <a:pt x="242" y="1145"/>
                          <a:pt x="245" y="1145"/>
                        </a:cubicBezTo>
                        <a:cubicBezTo>
                          <a:pt x="247" y="1145"/>
                          <a:pt x="253" y="1153"/>
                          <a:pt x="264" y="1161"/>
                        </a:cubicBezTo>
                        <a:cubicBezTo>
                          <a:pt x="275" y="1170"/>
                          <a:pt x="282" y="1166"/>
                          <a:pt x="295" y="1190"/>
                        </a:cubicBezTo>
                        <a:cubicBezTo>
                          <a:pt x="308" y="1215"/>
                          <a:pt x="307" y="1212"/>
                          <a:pt x="311" y="1215"/>
                        </a:cubicBezTo>
                        <a:cubicBezTo>
                          <a:pt x="315" y="1218"/>
                          <a:pt x="310" y="1248"/>
                          <a:pt x="312" y="1274"/>
                        </a:cubicBezTo>
                        <a:cubicBezTo>
                          <a:pt x="313" y="1301"/>
                          <a:pt x="278" y="1346"/>
                          <a:pt x="278" y="1346"/>
                        </a:cubicBezTo>
                        <a:cubicBezTo>
                          <a:pt x="278" y="1346"/>
                          <a:pt x="278" y="1347"/>
                          <a:pt x="278" y="1347"/>
                        </a:cubicBezTo>
                        <a:cubicBezTo>
                          <a:pt x="278" y="1350"/>
                          <a:pt x="275" y="1371"/>
                          <a:pt x="275" y="1379"/>
                        </a:cubicBezTo>
                        <a:cubicBezTo>
                          <a:pt x="275" y="1389"/>
                          <a:pt x="288" y="1395"/>
                          <a:pt x="293" y="1410"/>
                        </a:cubicBezTo>
                        <a:cubicBezTo>
                          <a:pt x="299" y="1424"/>
                          <a:pt x="312" y="1427"/>
                          <a:pt x="319" y="1429"/>
                        </a:cubicBezTo>
                        <a:cubicBezTo>
                          <a:pt x="326" y="1431"/>
                          <a:pt x="344" y="1459"/>
                          <a:pt x="342" y="1459"/>
                        </a:cubicBezTo>
                        <a:cubicBezTo>
                          <a:pt x="340" y="1460"/>
                          <a:pt x="380" y="1459"/>
                          <a:pt x="380" y="1459"/>
                        </a:cubicBezTo>
                        <a:cubicBezTo>
                          <a:pt x="396" y="1444"/>
                          <a:pt x="396" y="1444"/>
                          <a:pt x="396" y="1444"/>
                        </a:cubicBezTo>
                        <a:cubicBezTo>
                          <a:pt x="396" y="1444"/>
                          <a:pt x="399" y="1336"/>
                          <a:pt x="399" y="1334"/>
                        </a:cubicBezTo>
                        <a:cubicBezTo>
                          <a:pt x="399" y="1331"/>
                          <a:pt x="420" y="1293"/>
                          <a:pt x="420" y="1293"/>
                        </a:cubicBezTo>
                        <a:cubicBezTo>
                          <a:pt x="420" y="1293"/>
                          <a:pt x="473" y="1292"/>
                          <a:pt x="493" y="1293"/>
                        </a:cubicBezTo>
                        <a:cubicBezTo>
                          <a:pt x="512" y="1294"/>
                          <a:pt x="509" y="1286"/>
                          <a:pt x="526" y="1274"/>
                        </a:cubicBezTo>
                        <a:cubicBezTo>
                          <a:pt x="542" y="1263"/>
                          <a:pt x="571" y="1245"/>
                          <a:pt x="571" y="1245"/>
                        </a:cubicBezTo>
                        <a:cubicBezTo>
                          <a:pt x="597" y="1245"/>
                          <a:pt x="597" y="1245"/>
                          <a:pt x="597" y="1245"/>
                        </a:cubicBezTo>
                        <a:cubicBezTo>
                          <a:pt x="597" y="1245"/>
                          <a:pt x="607" y="1235"/>
                          <a:pt x="628" y="1235"/>
                        </a:cubicBezTo>
                        <a:cubicBezTo>
                          <a:pt x="648" y="1235"/>
                          <a:pt x="651" y="1255"/>
                          <a:pt x="655" y="1259"/>
                        </a:cubicBezTo>
                        <a:cubicBezTo>
                          <a:pt x="658" y="1263"/>
                          <a:pt x="655" y="1277"/>
                          <a:pt x="654" y="1285"/>
                        </a:cubicBezTo>
                        <a:cubicBezTo>
                          <a:pt x="653" y="1293"/>
                          <a:pt x="674" y="1297"/>
                          <a:pt x="678" y="1302"/>
                        </a:cubicBezTo>
                        <a:cubicBezTo>
                          <a:pt x="682" y="1307"/>
                          <a:pt x="685" y="1325"/>
                          <a:pt x="686" y="1329"/>
                        </a:cubicBezTo>
                        <a:cubicBezTo>
                          <a:pt x="687" y="1334"/>
                          <a:pt x="706" y="1356"/>
                          <a:pt x="708" y="1364"/>
                        </a:cubicBezTo>
                        <a:cubicBezTo>
                          <a:pt x="709" y="1367"/>
                          <a:pt x="710" y="1369"/>
                          <a:pt x="712" y="1372"/>
                        </a:cubicBezTo>
                        <a:cubicBezTo>
                          <a:pt x="723" y="1371"/>
                          <a:pt x="734" y="1370"/>
                          <a:pt x="740" y="1365"/>
                        </a:cubicBezTo>
                        <a:cubicBezTo>
                          <a:pt x="758" y="1354"/>
                          <a:pt x="770" y="1323"/>
                          <a:pt x="773" y="1323"/>
                        </a:cubicBezTo>
                        <a:cubicBezTo>
                          <a:pt x="776" y="1323"/>
                          <a:pt x="782" y="1321"/>
                          <a:pt x="784" y="1318"/>
                        </a:cubicBezTo>
                        <a:cubicBezTo>
                          <a:pt x="787" y="1315"/>
                          <a:pt x="787" y="1302"/>
                          <a:pt x="802" y="1293"/>
                        </a:cubicBezTo>
                        <a:cubicBezTo>
                          <a:pt x="818" y="1285"/>
                          <a:pt x="830" y="1278"/>
                          <a:pt x="839" y="1277"/>
                        </a:cubicBezTo>
                        <a:cubicBezTo>
                          <a:pt x="848" y="1277"/>
                          <a:pt x="905" y="1275"/>
                          <a:pt x="912" y="1279"/>
                        </a:cubicBezTo>
                        <a:cubicBezTo>
                          <a:pt x="920" y="1283"/>
                          <a:pt x="934" y="1294"/>
                          <a:pt x="949" y="1288"/>
                        </a:cubicBezTo>
                        <a:cubicBezTo>
                          <a:pt x="964" y="1282"/>
                          <a:pt x="980" y="1264"/>
                          <a:pt x="991" y="1252"/>
                        </a:cubicBezTo>
                        <a:cubicBezTo>
                          <a:pt x="1002" y="1240"/>
                          <a:pt x="1009" y="1219"/>
                          <a:pt x="1002" y="1214"/>
                        </a:cubicBezTo>
                        <a:cubicBezTo>
                          <a:pt x="994" y="1209"/>
                          <a:pt x="972" y="1190"/>
                          <a:pt x="962" y="1193"/>
                        </a:cubicBezTo>
                        <a:cubicBezTo>
                          <a:pt x="951" y="1197"/>
                          <a:pt x="953" y="1205"/>
                          <a:pt x="948" y="1205"/>
                        </a:cubicBezTo>
                        <a:cubicBezTo>
                          <a:pt x="944" y="1205"/>
                          <a:pt x="906" y="1199"/>
                          <a:pt x="907" y="1191"/>
                        </a:cubicBezTo>
                        <a:cubicBezTo>
                          <a:pt x="908" y="1183"/>
                          <a:pt x="930" y="1166"/>
                          <a:pt x="932" y="1166"/>
                        </a:cubicBezTo>
                        <a:cubicBezTo>
                          <a:pt x="935" y="1166"/>
                          <a:pt x="960" y="1169"/>
                          <a:pt x="960" y="1169"/>
                        </a:cubicBezTo>
                        <a:cubicBezTo>
                          <a:pt x="960" y="1169"/>
                          <a:pt x="968" y="1153"/>
                          <a:pt x="974" y="1145"/>
                        </a:cubicBezTo>
                        <a:cubicBezTo>
                          <a:pt x="980" y="1138"/>
                          <a:pt x="982" y="1129"/>
                          <a:pt x="982" y="1129"/>
                        </a:cubicBezTo>
                        <a:cubicBezTo>
                          <a:pt x="982" y="1129"/>
                          <a:pt x="1009" y="1126"/>
                          <a:pt x="1015" y="1128"/>
                        </a:cubicBezTo>
                        <a:cubicBezTo>
                          <a:pt x="1022" y="1131"/>
                          <a:pt x="1020" y="1143"/>
                          <a:pt x="1032" y="1146"/>
                        </a:cubicBezTo>
                        <a:cubicBezTo>
                          <a:pt x="1043" y="1149"/>
                          <a:pt x="1130" y="1150"/>
                          <a:pt x="1142" y="1157"/>
                        </a:cubicBezTo>
                        <a:cubicBezTo>
                          <a:pt x="1154" y="1163"/>
                          <a:pt x="1224" y="1172"/>
                          <a:pt x="1254" y="1180"/>
                        </a:cubicBezTo>
                        <a:cubicBezTo>
                          <a:pt x="1284" y="1189"/>
                          <a:pt x="1332" y="1197"/>
                          <a:pt x="1318" y="1210"/>
                        </a:cubicBezTo>
                        <a:cubicBezTo>
                          <a:pt x="1305" y="1223"/>
                          <a:pt x="1298" y="1249"/>
                          <a:pt x="1298" y="1249"/>
                        </a:cubicBezTo>
                        <a:cubicBezTo>
                          <a:pt x="1298" y="1249"/>
                          <a:pt x="1301" y="1286"/>
                          <a:pt x="1310" y="1299"/>
                        </a:cubicBezTo>
                        <a:cubicBezTo>
                          <a:pt x="1319" y="1312"/>
                          <a:pt x="1317" y="1321"/>
                          <a:pt x="1323" y="1325"/>
                        </a:cubicBezTo>
                        <a:cubicBezTo>
                          <a:pt x="1328" y="1329"/>
                          <a:pt x="1336" y="1326"/>
                          <a:pt x="1344" y="1335"/>
                        </a:cubicBezTo>
                        <a:cubicBezTo>
                          <a:pt x="1352" y="1344"/>
                          <a:pt x="1363" y="1358"/>
                          <a:pt x="1370" y="1359"/>
                        </a:cubicBezTo>
                        <a:cubicBezTo>
                          <a:pt x="1378" y="1359"/>
                          <a:pt x="1397" y="1361"/>
                          <a:pt x="1403" y="1359"/>
                        </a:cubicBezTo>
                        <a:cubicBezTo>
                          <a:pt x="1409" y="1356"/>
                          <a:pt x="1433" y="1314"/>
                          <a:pt x="1468" y="1314"/>
                        </a:cubicBezTo>
                        <a:cubicBezTo>
                          <a:pt x="1503" y="1315"/>
                          <a:pt x="1586" y="1304"/>
                          <a:pt x="1603" y="1325"/>
                        </a:cubicBezTo>
                        <a:cubicBezTo>
                          <a:pt x="1620" y="1346"/>
                          <a:pt x="1634" y="1362"/>
                          <a:pt x="1634" y="1371"/>
                        </a:cubicBezTo>
                        <a:cubicBezTo>
                          <a:pt x="1635" y="1380"/>
                          <a:pt x="1637" y="1399"/>
                          <a:pt x="1645" y="1407"/>
                        </a:cubicBezTo>
                        <a:cubicBezTo>
                          <a:pt x="1653" y="1415"/>
                          <a:pt x="1668" y="1423"/>
                          <a:pt x="1676" y="1433"/>
                        </a:cubicBezTo>
                        <a:cubicBezTo>
                          <a:pt x="1685" y="1444"/>
                          <a:pt x="1734" y="1462"/>
                          <a:pt x="1732" y="1471"/>
                        </a:cubicBezTo>
                        <a:cubicBezTo>
                          <a:pt x="1730" y="1476"/>
                          <a:pt x="1728" y="1499"/>
                          <a:pt x="1727" y="1520"/>
                        </a:cubicBezTo>
                        <a:cubicBezTo>
                          <a:pt x="1753" y="1517"/>
                          <a:pt x="1786" y="1512"/>
                          <a:pt x="1793" y="1504"/>
                        </a:cubicBezTo>
                        <a:cubicBezTo>
                          <a:pt x="1806" y="1491"/>
                          <a:pt x="1803" y="1445"/>
                          <a:pt x="1803" y="1445"/>
                        </a:cubicBezTo>
                        <a:cubicBezTo>
                          <a:pt x="1838" y="1452"/>
                          <a:pt x="1838" y="1452"/>
                          <a:pt x="1838" y="1452"/>
                        </a:cubicBezTo>
                        <a:cubicBezTo>
                          <a:pt x="1859" y="1443"/>
                          <a:pt x="1859" y="1443"/>
                          <a:pt x="1859" y="1443"/>
                        </a:cubicBezTo>
                        <a:cubicBezTo>
                          <a:pt x="1861" y="1458"/>
                          <a:pt x="1861" y="1458"/>
                          <a:pt x="1861" y="1458"/>
                        </a:cubicBezTo>
                        <a:cubicBezTo>
                          <a:pt x="1893" y="1456"/>
                          <a:pt x="1893" y="1456"/>
                          <a:pt x="1893" y="1456"/>
                        </a:cubicBezTo>
                        <a:cubicBezTo>
                          <a:pt x="1896" y="1424"/>
                          <a:pt x="1902" y="1382"/>
                          <a:pt x="1904" y="1370"/>
                        </a:cubicBezTo>
                        <a:cubicBezTo>
                          <a:pt x="1907" y="1351"/>
                          <a:pt x="1915" y="1353"/>
                          <a:pt x="1915" y="1353"/>
                        </a:cubicBezTo>
                        <a:close/>
                      </a:path>
                    </a:pathLst>
                  </a:custGeom>
                  <a:solidFill>
                    <a:srgbClr val="FF00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4" name="Freeform 544">
                    <a:extLst>
                      <a:ext uri="{FF2B5EF4-FFF2-40B4-BE49-F238E27FC236}">
                        <a16:creationId xmlns:a16="http://schemas.microsoft.com/office/drawing/2014/main" id="{1FA56426-22C1-6969-5732-BEE23B55230F}"/>
                      </a:ext>
                    </a:extLst>
                  </p:cNvPr>
                  <p:cNvSpPr>
                    <a:spLocks noChangeAspect="1"/>
                  </p:cNvSpPr>
                  <p:nvPr/>
                </p:nvSpPr>
                <p:spPr bwMode="auto">
                  <a:xfrm>
                    <a:off x="7398825" y="3333230"/>
                    <a:ext cx="809803" cy="1217372"/>
                  </a:xfrm>
                  <a:custGeom>
                    <a:avLst/>
                    <a:gdLst>
                      <a:gd name="T0" fmla="*/ 1759 w 2072"/>
                      <a:gd name="T1" fmla="*/ 127 h 3114"/>
                      <a:gd name="T2" fmla="*/ 1695 w 2072"/>
                      <a:gd name="T3" fmla="*/ 324 h 3114"/>
                      <a:gd name="T4" fmla="*/ 1510 w 2072"/>
                      <a:gd name="T5" fmla="*/ 402 h 3114"/>
                      <a:gd name="T6" fmla="*/ 1326 w 2072"/>
                      <a:gd name="T7" fmla="*/ 304 h 3114"/>
                      <a:gd name="T8" fmla="*/ 1160 w 2072"/>
                      <a:gd name="T9" fmla="*/ 433 h 3114"/>
                      <a:gd name="T10" fmla="*/ 872 w 2072"/>
                      <a:gd name="T11" fmla="*/ 538 h 3114"/>
                      <a:gd name="T12" fmla="*/ 712 w 2072"/>
                      <a:gd name="T13" fmla="*/ 646 h 3114"/>
                      <a:gd name="T14" fmla="*/ 602 w 2072"/>
                      <a:gd name="T15" fmla="*/ 823 h 3114"/>
                      <a:gd name="T16" fmla="*/ 420 w 2072"/>
                      <a:gd name="T17" fmla="*/ 805 h 3114"/>
                      <a:gd name="T18" fmla="*/ 453 w 2072"/>
                      <a:gd name="T19" fmla="*/ 973 h 3114"/>
                      <a:gd name="T20" fmla="*/ 405 w 2072"/>
                      <a:gd name="T21" fmla="*/ 1100 h 3114"/>
                      <a:gd name="T22" fmla="*/ 240 w 2072"/>
                      <a:gd name="T23" fmla="*/ 1191 h 3114"/>
                      <a:gd name="T24" fmla="*/ 92 w 2072"/>
                      <a:gd name="T25" fmla="*/ 1221 h 3114"/>
                      <a:gd name="T26" fmla="*/ 144 w 2072"/>
                      <a:gd name="T27" fmla="*/ 1316 h 3114"/>
                      <a:gd name="T28" fmla="*/ 260 w 2072"/>
                      <a:gd name="T29" fmla="*/ 1418 h 3114"/>
                      <a:gd name="T30" fmla="*/ 331 w 2072"/>
                      <a:gd name="T31" fmla="*/ 1520 h 3114"/>
                      <a:gd name="T32" fmla="*/ 426 w 2072"/>
                      <a:gd name="T33" fmla="*/ 1762 h 3114"/>
                      <a:gd name="T34" fmla="*/ 487 w 2072"/>
                      <a:gd name="T35" fmla="*/ 1874 h 3114"/>
                      <a:gd name="T36" fmla="*/ 422 w 2072"/>
                      <a:gd name="T37" fmla="*/ 1966 h 3114"/>
                      <a:gd name="T38" fmla="*/ 386 w 2072"/>
                      <a:gd name="T39" fmla="*/ 2174 h 3114"/>
                      <a:gd name="T40" fmla="*/ 273 w 2072"/>
                      <a:gd name="T41" fmla="*/ 2262 h 3114"/>
                      <a:gd name="T42" fmla="*/ 156 w 2072"/>
                      <a:gd name="T43" fmla="*/ 2408 h 3114"/>
                      <a:gd name="T44" fmla="*/ 61 w 2072"/>
                      <a:gd name="T45" fmla="*/ 2542 h 3114"/>
                      <a:gd name="T46" fmla="*/ 93 w 2072"/>
                      <a:gd name="T47" fmla="*/ 2642 h 3114"/>
                      <a:gd name="T48" fmla="*/ 168 w 2072"/>
                      <a:gd name="T49" fmla="*/ 2788 h 3114"/>
                      <a:gd name="T50" fmla="*/ 242 w 2072"/>
                      <a:gd name="T51" fmla="*/ 2676 h 3114"/>
                      <a:gd name="T52" fmla="*/ 399 w 2072"/>
                      <a:gd name="T53" fmla="*/ 2799 h 3114"/>
                      <a:gd name="T54" fmla="*/ 482 w 2072"/>
                      <a:gd name="T55" fmla="*/ 3092 h 3114"/>
                      <a:gd name="T56" fmla="*/ 612 w 2072"/>
                      <a:gd name="T57" fmla="*/ 3038 h 3114"/>
                      <a:gd name="T58" fmla="*/ 608 w 2072"/>
                      <a:gd name="T59" fmla="*/ 2857 h 3114"/>
                      <a:gd name="T60" fmla="*/ 778 w 2072"/>
                      <a:gd name="T61" fmla="*/ 2626 h 3114"/>
                      <a:gd name="T62" fmla="*/ 810 w 2072"/>
                      <a:gd name="T63" fmla="*/ 2458 h 3114"/>
                      <a:gd name="T64" fmla="*/ 825 w 2072"/>
                      <a:gd name="T65" fmla="*/ 2198 h 3114"/>
                      <a:gd name="T66" fmla="*/ 940 w 2072"/>
                      <a:gd name="T67" fmla="*/ 2163 h 3114"/>
                      <a:gd name="T68" fmla="*/ 1097 w 2072"/>
                      <a:gd name="T69" fmla="*/ 2067 h 3114"/>
                      <a:gd name="T70" fmla="*/ 1207 w 2072"/>
                      <a:gd name="T71" fmla="*/ 1990 h 3114"/>
                      <a:gd name="T72" fmla="*/ 1295 w 2072"/>
                      <a:gd name="T73" fmla="*/ 1877 h 3114"/>
                      <a:gd name="T74" fmla="*/ 1302 w 2072"/>
                      <a:gd name="T75" fmla="*/ 1756 h 3114"/>
                      <a:gd name="T76" fmla="*/ 1355 w 2072"/>
                      <a:gd name="T77" fmla="*/ 1641 h 3114"/>
                      <a:gd name="T78" fmla="*/ 1382 w 2072"/>
                      <a:gd name="T79" fmla="*/ 1514 h 3114"/>
                      <a:gd name="T80" fmla="*/ 1392 w 2072"/>
                      <a:gd name="T81" fmla="*/ 1319 h 3114"/>
                      <a:gd name="T82" fmla="*/ 1516 w 2072"/>
                      <a:gd name="T83" fmla="*/ 1241 h 3114"/>
                      <a:gd name="T84" fmla="*/ 1697 w 2072"/>
                      <a:gd name="T85" fmla="*/ 1105 h 3114"/>
                      <a:gd name="T86" fmla="*/ 1665 w 2072"/>
                      <a:gd name="T87" fmla="*/ 896 h 3114"/>
                      <a:gd name="T88" fmla="*/ 1715 w 2072"/>
                      <a:gd name="T89" fmla="*/ 767 h 3114"/>
                      <a:gd name="T90" fmla="*/ 1871 w 2072"/>
                      <a:gd name="T91" fmla="*/ 641 h 3114"/>
                      <a:gd name="T92" fmla="*/ 1961 w 2072"/>
                      <a:gd name="T93" fmla="*/ 361 h 3114"/>
                      <a:gd name="T94" fmla="*/ 2072 w 2072"/>
                      <a:gd name="T95" fmla="*/ 12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2" h="3114">
                        <a:moveTo>
                          <a:pt x="1946" y="22"/>
                        </a:moveTo>
                        <a:cubicBezTo>
                          <a:pt x="1928" y="31"/>
                          <a:pt x="1811" y="29"/>
                          <a:pt x="1791" y="38"/>
                        </a:cubicBezTo>
                        <a:cubicBezTo>
                          <a:pt x="1771" y="46"/>
                          <a:pt x="1774" y="79"/>
                          <a:pt x="1772" y="84"/>
                        </a:cubicBezTo>
                        <a:cubicBezTo>
                          <a:pt x="1770" y="88"/>
                          <a:pt x="1764" y="111"/>
                          <a:pt x="1759" y="127"/>
                        </a:cubicBezTo>
                        <a:cubicBezTo>
                          <a:pt x="1754" y="143"/>
                          <a:pt x="1728" y="182"/>
                          <a:pt x="1725" y="194"/>
                        </a:cubicBezTo>
                        <a:cubicBezTo>
                          <a:pt x="1722" y="207"/>
                          <a:pt x="1720" y="232"/>
                          <a:pt x="1716" y="237"/>
                        </a:cubicBezTo>
                        <a:cubicBezTo>
                          <a:pt x="1712" y="242"/>
                          <a:pt x="1715" y="249"/>
                          <a:pt x="1699" y="261"/>
                        </a:cubicBezTo>
                        <a:cubicBezTo>
                          <a:pt x="1683" y="273"/>
                          <a:pt x="1703" y="314"/>
                          <a:pt x="1695" y="324"/>
                        </a:cubicBezTo>
                        <a:cubicBezTo>
                          <a:pt x="1687" y="334"/>
                          <a:pt x="1690" y="350"/>
                          <a:pt x="1690" y="364"/>
                        </a:cubicBezTo>
                        <a:cubicBezTo>
                          <a:pt x="1690" y="377"/>
                          <a:pt x="1674" y="399"/>
                          <a:pt x="1670" y="400"/>
                        </a:cubicBezTo>
                        <a:cubicBezTo>
                          <a:pt x="1667" y="402"/>
                          <a:pt x="1652" y="410"/>
                          <a:pt x="1632" y="418"/>
                        </a:cubicBezTo>
                        <a:cubicBezTo>
                          <a:pt x="1612" y="427"/>
                          <a:pt x="1526" y="402"/>
                          <a:pt x="1510" y="402"/>
                        </a:cubicBezTo>
                        <a:cubicBezTo>
                          <a:pt x="1494" y="401"/>
                          <a:pt x="1479" y="367"/>
                          <a:pt x="1456" y="366"/>
                        </a:cubicBezTo>
                        <a:cubicBezTo>
                          <a:pt x="1432" y="364"/>
                          <a:pt x="1438" y="354"/>
                          <a:pt x="1424" y="350"/>
                        </a:cubicBezTo>
                        <a:cubicBezTo>
                          <a:pt x="1410" y="347"/>
                          <a:pt x="1402" y="323"/>
                          <a:pt x="1385" y="322"/>
                        </a:cubicBezTo>
                        <a:cubicBezTo>
                          <a:pt x="1368" y="320"/>
                          <a:pt x="1340" y="304"/>
                          <a:pt x="1326" y="304"/>
                        </a:cubicBezTo>
                        <a:cubicBezTo>
                          <a:pt x="1311" y="305"/>
                          <a:pt x="1296" y="317"/>
                          <a:pt x="1291" y="324"/>
                        </a:cubicBezTo>
                        <a:cubicBezTo>
                          <a:pt x="1286" y="330"/>
                          <a:pt x="1270" y="332"/>
                          <a:pt x="1225" y="368"/>
                        </a:cubicBezTo>
                        <a:cubicBezTo>
                          <a:pt x="1180" y="405"/>
                          <a:pt x="1192" y="418"/>
                          <a:pt x="1186" y="422"/>
                        </a:cubicBezTo>
                        <a:cubicBezTo>
                          <a:pt x="1181" y="426"/>
                          <a:pt x="1160" y="433"/>
                          <a:pt x="1160" y="433"/>
                        </a:cubicBezTo>
                        <a:cubicBezTo>
                          <a:pt x="1160" y="433"/>
                          <a:pt x="1142" y="455"/>
                          <a:pt x="1140" y="457"/>
                        </a:cubicBezTo>
                        <a:cubicBezTo>
                          <a:pt x="1137" y="459"/>
                          <a:pt x="1134" y="454"/>
                          <a:pt x="1120" y="466"/>
                        </a:cubicBezTo>
                        <a:cubicBezTo>
                          <a:pt x="1107" y="478"/>
                          <a:pt x="1041" y="542"/>
                          <a:pt x="1041" y="542"/>
                        </a:cubicBezTo>
                        <a:cubicBezTo>
                          <a:pt x="1041" y="542"/>
                          <a:pt x="874" y="538"/>
                          <a:pt x="872" y="538"/>
                        </a:cubicBezTo>
                        <a:cubicBezTo>
                          <a:pt x="870" y="538"/>
                          <a:pt x="850" y="550"/>
                          <a:pt x="838" y="550"/>
                        </a:cubicBezTo>
                        <a:cubicBezTo>
                          <a:pt x="827" y="550"/>
                          <a:pt x="828" y="568"/>
                          <a:pt x="810" y="580"/>
                        </a:cubicBezTo>
                        <a:cubicBezTo>
                          <a:pt x="793" y="592"/>
                          <a:pt x="762" y="598"/>
                          <a:pt x="754" y="608"/>
                        </a:cubicBezTo>
                        <a:cubicBezTo>
                          <a:pt x="746" y="618"/>
                          <a:pt x="720" y="640"/>
                          <a:pt x="712" y="646"/>
                        </a:cubicBezTo>
                        <a:cubicBezTo>
                          <a:pt x="704" y="652"/>
                          <a:pt x="700" y="651"/>
                          <a:pt x="695" y="652"/>
                        </a:cubicBezTo>
                        <a:cubicBezTo>
                          <a:pt x="690" y="654"/>
                          <a:pt x="665" y="706"/>
                          <a:pt x="657" y="732"/>
                        </a:cubicBezTo>
                        <a:cubicBezTo>
                          <a:pt x="649" y="758"/>
                          <a:pt x="645" y="791"/>
                          <a:pt x="644" y="800"/>
                        </a:cubicBezTo>
                        <a:cubicBezTo>
                          <a:pt x="642" y="810"/>
                          <a:pt x="622" y="822"/>
                          <a:pt x="602" y="823"/>
                        </a:cubicBezTo>
                        <a:cubicBezTo>
                          <a:pt x="581" y="824"/>
                          <a:pt x="584" y="835"/>
                          <a:pt x="584" y="835"/>
                        </a:cubicBezTo>
                        <a:cubicBezTo>
                          <a:pt x="584" y="835"/>
                          <a:pt x="555" y="829"/>
                          <a:pt x="544" y="827"/>
                        </a:cubicBezTo>
                        <a:cubicBezTo>
                          <a:pt x="532" y="825"/>
                          <a:pt x="529" y="838"/>
                          <a:pt x="512" y="840"/>
                        </a:cubicBezTo>
                        <a:cubicBezTo>
                          <a:pt x="501" y="842"/>
                          <a:pt x="452" y="820"/>
                          <a:pt x="420" y="805"/>
                        </a:cubicBezTo>
                        <a:cubicBezTo>
                          <a:pt x="420" y="807"/>
                          <a:pt x="420" y="808"/>
                          <a:pt x="420" y="808"/>
                        </a:cubicBezTo>
                        <a:cubicBezTo>
                          <a:pt x="420" y="808"/>
                          <a:pt x="430" y="849"/>
                          <a:pt x="433" y="861"/>
                        </a:cubicBezTo>
                        <a:cubicBezTo>
                          <a:pt x="435" y="874"/>
                          <a:pt x="445" y="947"/>
                          <a:pt x="444" y="954"/>
                        </a:cubicBezTo>
                        <a:cubicBezTo>
                          <a:pt x="443" y="961"/>
                          <a:pt x="452" y="966"/>
                          <a:pt x="453" y="973"/>
                        </a:cubicBezTo>
                        <a:cubicBezTo>
                          <a:pt x="454" y="981"/>
                          <a:pt x="453" y="1036"/>
                          <a:pt x="451" y="1037"/>
                        </a:cubicBezTo>
                        <a:cubicBezTo>
                          <a:pt x="450" y="1037"/>
                          <a:pt x="445" y="1044"/>
                          <a:pt x="434" y="1054"/>
                        </a:cubicBezTo>
                        <a:cubicBezTo>
                          <a:pt x="424" y="1064"/>
                          <a:pt x="432" y="1064"/>
                          <a:pt x="428" y="1074"/>
                        </a:cubicBezTo>
                        <a:cubicBezTo>
                          <a:pt x="424" y="1084"/>
                          <a:pt x="413" y="1092"/>
                          <a:pt x="405" y="1100"/>
                        </a:cubicBezTo>
                        <a:cubicBezTo>
                          <a:pt x="397" y="1109"/>
                          <a:pt x="376" y="1125"/>
                          <a:pt x="364" y="1136"/>
                        </a:cubicBezTo>
                        <a:cubicBezTo>
                          <a:pt x="352" y="1146"/>
                          <a:pt x="346" y="1147"/>
                          <a:pt x="337" y="1148"/>
                        </a:cubicBezTo>
                        <a:cubicBezTo>
                          <a:pt x="329" y="1150"/>
                          <a:pt x="296" y="1174"/>
                          <a:pt x="285" y="1179"/>
                        </a:cubicBezTo>
                        <a:cubicBezTo>
                          <a:pt x="275" y="1185"/>
                          <a:pt x="255" y="1191"/>
                          <a:pt x="240" y="1191"/>
                        </a:cubicBezTo>
                        <a:cubicBezTo>
                          <a:pt x="226" y="1191"/>
                          <a:pt x="219" y="1195"/>
                          <a:pt x="209" y="1204"/>
                        </a:cubicBezTo>
                        <a:cubicBezTo>
                          <a:pt x="198" y="1212"/>
                          <a:pt x="163" y="1211"/>
                          <a:pt x="161" y="1211"/>
                        </a:cubicBezTo>
                        <a:cubicBezTo>
                          <a:pt x="158" y="1211"/>
                          <a:pt x="123" y="1214"/>
                          <a:pt x="106" y="1215"/>
                        </a:cubicBezTo>
                        <a:cubicBezTo>
                          <a:pt x="101" y="1215"/>
                          <a:pt x="96" y="1218"/>
                          <a:pt x="92" y="1221"/>
                        </a:cubicBezTo>
                        <a:cubicBezTo>
                          <a:pt x="93" y="1228"/>
                          <a:pt x="93" y="1235"/>
                          <a:pt x="94" y="1237"/>
                        </a:cubicBezTo>
                        <a:cubicBezTo>
                          <a:pt x="95" y="1244"/>
                          <a:pt x="106" y="1255"/>
                          <a:pt x="112" y="1260"/>
                        </a:cubicBezTo>
                        <a:cubicBezTo>
                          <a:pt x="117" y="1264"/>
                          <a:pt x="125" y="1283"/>
                          <a:pt x="126" y="1293"/>
                        </a:cubicBezTo>
                        <a:cubicBezTo>
                          <a:pt x="128" y="1303"/>
                          <a:pt x="137" y="1308"/>
                          <a:pt x="144" y="1316"/>
                        </a:cubicBezTo>
                        <a:cubicBezTo>
                          <a:pt x="150" y="1323"/>
                          <a:pt x="144" y="1341"/>
                          <a:pt x="153" y="1357"/>
                        </a:cubicBezTo>
                        <a:cubicBezTo>
                          <a:pt x="162" y="1373"/>
                          <a:pt x="209" y="1387"/>
                          <a:pt x="209" y="1387"/>
                        </a:cubicBezTo>
                        <a:cubicBezTo>
                          <a:pt x="209" y="1387"/>
                          <a:pt x="232" y="1399"/>
                          <a:pt x="238" y="1410"/>
                        </a:cubicBezTo>
                        <a:cubicBezTo>
                          <a:pt x="244" y="1420"/>
                          <a:pt x="259" y="1416"/>
                          <a:pt x="260" y="1418"/>
                        </a:cubicBezTo>
                        <a:cubicBezTo>
                          <a:pt x="262" y="1420"/>
                          <a:pt x="275" y="1440"/>
                          <a:pt x="278" y="1440"/>
                        </a:cubicBezTo>
                        <a:cubicBezTo>
                          <a:pt x="282" y="1440"/>
                          <a:pt x="298" y="1456"/>
                          <a:pt x="299" y="1464"/>
                        </a:cubicBezTo>
                        <a:cubicBezTo>
                          <a:pt x="300" y="1473"/>
                          <a:pt x="311" y="1470"/>
                          <a:pt x="312" y="1474"/>
                        </a:cubicBezTo>
                        <a:cubicBezTo>
                          <a:pt x="312" y="1478"/>
                          <a:pt x="320" y="1502"/>
                          <a:pt x="331" y="1520"/>
                        </a:cubicBezTo>
                        <a:cubicBezTo>
                          <a:pt x="342" y="1539"/>
                          <a:pt x="337" y="1649"/>
                          <a:pt x="340" y="1658"/>
                        </a:cubicBezTo>
                        <a:cubicBezTo>
                          <a:pt x="344" y="1666"/>
                          <a:pt x="355" y="1680"/>
                          <a:pt x="360" y="1694"/>
                        </a:cubicBezTo>
                        <a:cubicBezTo>
                          <a:pt x="366" y="1707"/>
                          <a:pt x="393" y="1716"/>
                          <a:pt x="399" y="1725"/>
                        </a:cubicBezTo>
                        <a:cubicBezTo>
                          <a:pt x="405" y="1734"/>
                          <a:pt x="420" y="1756"/>
                          <a:pt x="426" y="1762"/>
                        </a:cubicBezTo>
                        <a:cubicBezTo>
                          <a:pt x="432" y="1767"/>
                          <a:pt x="446" y="1774"/>
                          <a:pt x="458" y="1774"/>
                        </a:cubicBezTo>
                        <a:cubicBezTo>
                          <a:pt x="471" y="1774"/>
                          <a:pt x="472" y="1792"/>
                          <a:pt x="472" y="1792"/>
                        </a:cubicBezTo>
                        <a:cubicBezTo>
                          <a:pt x="472" y="1792"/>
                          <a:pt x="492" y="1803"/>
                          <a:pt x="493" y="1815"/>
                        </a:cubicBezTo>
                        <a:cubicBezTo>
                          <a:pt x="494" y="1827"/>
                          <a:pt x="494" y="1860"/>
                          <a:pt x="487" y="1874"/>
                        </a:cubicBezTo>
                        <a:cubicBezTo>
                          <a:pt x="480" y="1887"/>
                          <a:pt x="474" y="1875"/>
                          <a:pt x="472" y="1875"/>
                        </a:cubicBezTo>
                        <a:cubicBezTo>
                          <a:pt x="469" y="1875"/>
                          <a:pt x="474" y="1890"/>
                          <a:pt x="474" y="1890"/>
                        </a:cubicBezTo>
                        <a:cubicBezTo>
                          <a:pt x="474" y="1890"/>
                          <a:pt x="448" y="1901"/>
                          <a:pt x="444" y="1920"/>
                        </a:cubicBezTo>
                        <a:cubicBezTo>
                          <a:pt x="440" y="1940"/>
                          <a:pt x="425" y="1961"/>
                          <a:pt x="422" y="1966"/>
                        </a:cubicBezTo>
                        <a:cubicBezTo>
                          <a:pt x="420" y="1972"/>
                          <a:pt x="420" y="1981"/>
                          <a:pt x="418" y="1992"/>
                        </a:cubicBezTo>
                        <a:cubicBezTo>
                          <a:pt x="416" y="2002"/>
                          <a:pt x="400" y="2016"/>
                          <a:pt x="396" y="2033"/>
                        </a:cubicBezTo>
                        <a:cubicBezTo>
                          <a:pt x="391" y="2050"/>
                          <a:pt x="392" y="2134"/>
                          <a:pt x="392" y="2134"/>
                        </a:cubicBezTo>
                        <a:cubicBezTo>
                          <a:pt x="392" y="2134"/>
                          <a:pt x="384" y="2160"/>
                          <a:pt x="386" y="2174"/>
                        </a:cubicBezTo>
                        <a:cubicBezTo>
                          <a:pt x="388" y="2188"/>
                          <a:pt x="378" y="2184"/>
                          <a:pt x="374" y="2187"/>
                        </a:cubicBezTo>
                        <a:cubicBezTo>
                          <a:pt x="369" y="2190"/>
                          <a:pt x="355" y="2206"/>
                          <a:pt x="344" y="2220"/>
                        </a:cubicBezTo>
                        <a:cubicBezTo>
                          <a:pt x="334" y="2233"/>
                          <a:pt x="299" y="2240"/>
                          <a:pt x="292" y="2244"/>
                        </a:cubicBezTo>
                        <a:cubicBezTo>
                          <a:pt x="284" y="2247"/>
                          <a:pt x="272" y="2256"/>
                          <a:pt x="273" y="2262"/>
                        </a:cubicBezTo>
                        <a:cubicBezTo>
                          <a:pt x="274" y="2268"/>
                          <a:pt x="264" y="2268"/>
                          <a:pt x="262" y="2266"/>
                        </a:cubicBezTo>
                        <a:cubicBezTo>
                          <a:pt x="260" y="2264"/>
                          <a:pt x="239" y="2292"/>
                          <a:pt x="229" y="2295"/>
                        </a:cubicBezTo>
                        <a:cubicBezTo>
                          <a:pt x="219" y="2298"/>
                          <a:pt x="216" y="2316"/>
                          <a:pt x="199" y="2348"/>
                        </a:cubicBezTo>
                        <a:cubicBezTo>
                          <a:pt x="182" y="2380"/>
                          <a:pt x="161" y="2398"/>
                          <a:pt x="156" y="2408"/>
                        </a:cubicBezTo>
                        <a:cubicBezTo>
                          <a:pt x="152" y="2418"/>
                          <a:pt x="133" y="2459"/>
                          <a:pt x="128" y="2464"/>
                        </a:cubicBezTo>
                        <a:cubicBezTo>
                          <a:pt x="124" y="2470"/>
                          <a:pt x="109" y="2474"/>
                          <a:pt x="97" y="2484"/>
                        </a:cubicBezTo>
                        <a:cubicBezTo>
                          <a:pt x="85" y="2494"/>
                          <a:pt x="76" y="2516"/>
                          <a:pt x="62" y="2523"/>
                        </a:cubicBezTo>
                        <a:cubicBezTo>
                          <a:pt x="49" y="2530"/>
                          <a:pt x="61" y="2530"/>
                          <a:pt x="61" y="2542"/>
                        </a:cubicBezTo>
                        <a:cubicBezTo>
                          <a:pt x="61" y="2554"/>
                          <a:pt x="27" y="2560"/>
                          <a:pt x="14" y="2576"/>
                        </a:cubicBezTo>
                        <a:cubicBezTo>
                          <a:pt x="0" y="2592"/>
                          <a:pt x="45" y="2586"/>
                          <a:pt x="55" y="2588"/>
                        </a:cubicBezTo>
                        <a:cubicBezTo>
                          <a:pt x="65" y="2591"/>
                          <a:pt x="62" y="2603"/>
                          <a:pt x="66" y="2612"/>
                        </a:cubicBezTo>
                        <a:cubicBezTo>
                          <a:pt x="71" y="2622"/>
                          <a:pt x="90" y="2641"/>
                          <a:pt x="93" y="2642"/>
                        </a:cubicBezTo>
                        <a:cubicBezTo>
                          <a:pt x="96" y="2642"/>
                          <a:pt x="110" y="2674"/>
                          <a:pt x="111" y="2690"/>
                        </a:cubicBezTo>
                        <a:cubicBezTo>
                          <a:pt x="112" y="2707"/>
                          <a:pt x="124" y="2721"/>
                          <a:pt x="125" y="2738"/>
                        </a:cubicBezTo>
                        <a:cubicBezTo>
                          <a:pt x="126" y="2754"/>
                          <a:pt x="150" y="2758"/>
                          <a:pt x="152" y="2768"/>
                        </a:cubicBezTo>
                        <a:cubicBezTo>
                          <a:pt x="155" y="2778"/>
                          <a:pt x="163" y="2782"/>
                          <a:pt x="168" y="2788"/>
                        </a:cubicBezTo>
                        <a:cubicBezTo>
                          <a:pt x="174" y="2795"/>
                          <a:pt x="182" y="2778"/>
                          <a:pt x="185" y="2775"/>
                        </a:cubicBezTo>
                        <a:cubicBezTo>
                          <a:pt x="188" y="2772"/>
                          <a:pt x="202" y="2752"/>
                          <a:pt x="207" y="2748"/>
                        </a:cubicBezTo>
                        <a:cubicBezTo>
                          <a:pt x="212" y="2743"/>
                          <a:pt x="206" y="2727"/>
                          <a:pt x="216" y="2715"/>
                        </a:cubicBezTo>
                        <a:cubicBezTo>
                          <a:pt x="225" y="2703"/>
                          <a:pt x="234" y="2683"/>
                          <a:pt x="242" y="2676"/>
                        </a:cubicBezTo>
                        <a:cubicBezTo>
                          <a:pt x="250" y="2670"/>
                          <a:pt x="262" y="2674"/>
                          <a:pt x="284" y="2678"/>
                        </a:cubicBezTo>
                        <a:cubicBezTo>
                          <a:pt x="305" y="2682"/>
                          <a:pt x="327" y="2718"/>
                          <a:pt x="336" y="2740"/>
                        </a:cubicBezTo>
                        <a:cubicBezTo>
                          <a:pt x="344" y="2761"/>
                          <a:pt x="365" y="2775"/>
                          <a:pt x="369" y="2783"/>
                        </a:cubicBezTo>
                        <a:cubicBezTo>
                          <a:pt x="373" y="2791"/>
                          <a:pt x="388" y="2795"/>
                          <a:pt x="399" y="2799"/>
                        </a:cubicBezTo>
                        <a:cubicBezTo>
                          <a:pt x="410" y="2803"/>
                          <a:pt x="428" y="2834"/>
                          <a:pt x="441" y="2854"/>
                        </a:cubicBezTo>
                        <a:cubicBezTo>
                          <a:pt x="454" y="2873"/>
                          <a:pt x="438" y="2992"/>
                          <a:pt x="449" y="3009"/>
                        </a:cubicBezTo>
                        <a:cubicBezTo>
                          <a:pt x="460" y="3026"/>
                          <a:pt x="457" y="3052"/>
                          <a:pt x="460" y="3066"/>
                        </a:cubicBezTo>
                        <a:cubicBezTo>
                          <a:pt x="464" y="3080"/>
                          <a:pt x="469" y="3079"/>
                          <a:pt x="482" y="3092"/>
                        </a:cubicBezTo>
                        <a:cubicBezTo>
                          <a:pt x="488" y="3097"/>
                          <a:pt x="494" y="3106"/>
                          <a:pt x="499" y="3114"/>
                        </a:cubicBezTo>
                        <a:cubicBezTo>
                          <a:pt x="500" y="3113"/>
                          <a:pt x="501" y="3112"/>
                          <a:pt x="501" y="3112"/>
                        </a:cubicBezTo>
                        <a:cubicBezTo>
                          <a:pt x="501" y="3112"/>
                          <a:pt x="521" y="3075"/>
                          <a:pt x="545" y="3058"/>
                        </a:cubicBezTo>
                        <a:cubicBezTo>
                          <a:pt x="569" y="3041"/>
                          <a:pt x="612" y="3038"/>
                          <a:pt x="612" y="3038"/>
                        </a:cubicBezTo>
                        <a:cubicBezTo>
                          <a:pt x="600" y="2951"/>
                          <a:pt x="600" y="2951"/>
                          <a:pt x="600" y="2951"/>
                        </a:cubicBezTo>
                        <a:cubicBezTo>
                          <a:pt x="599" y="2922"/>
                          <a:pt x="599" y="2922"/>
                          <a:pt x="599" y="2922"/>
                        </a:cubicBezTo>
                        <a:cubicBezTo>
                          <a:pt x="610" y="2902"/>
                          <a:pt x="610" y="2902"/>
                          <a:pt x="610" y="2902"/>
                        </a:cubicBezTo>
                        <a:cubicBezTo>
                          <a:pt x="610" y="2902"/>
                          <a:pt x="608" y="2883"/>
                          <a:pt x="608" y="2857"/>
                        </a:cubicBezTo>
                        <a:cubicBezTo>
                          <a:pt x="608" y="2831"/>
                          <a:pt x="629" y="2827"/>
                          <a:pt x="637" y="2805"/>
                        </a:cubicBezTo>
                        <a:cubicBezTo>
                          <a:pt x="645" y="2783"/>
                          <a:pt x="658" y="2764"/>
                          <a:pt x="676" y="2741"/>
                        </a:cubicBezTo>
                        <a:cubicBezTo>
                          <a:pt x="694" y="2718"/>
                          <a:pt x="711" y="2711"/>
                          <a:pt x="715" y="2696"/>
                        </a:cubicBezTo>
                        <a:cubicBezTo>
                          <a:pt x="719" y="2681"/>
                          <a:pt x="771" y="2641"/>
                          <a:pt x="778" y="2626"/>
                        </a:cubicBezTo>
                        <a:cubicBezTo>
                          <a:pt x="785" y="2611"/>
                          <a:pt x="754" y="2519"/>
                          <a:pt x="754" y="2512"/>
                        </a:cubicBezTo>
                        <a:cubicBezTo>
                          <a:pt x="754" y="2505"/>
                          <a:pt x="774" y="2501"/>
                          <a:pt x="774" y="2501"/>
                        </a:cubicBezTo>
                        <a:cubicBezTo>
                          <a:pt x="774" y="2501"/>
                          <a:pt x="782" y="2476"/>
                          <a:pt x="788" y="2469"/>
                        </a:cubicBezTo>
                        <a:cubicBezTo>
                          <a:pt x="794" y="2462"/>
                          <a:pt x="810" y="2458"/>
                          <a:pt x="810" y="2458"/>
                        </a:cubicBezTo>
                        <a:cubicBezTo>
                          <a:pt x="812" y="2373"/>
                          <a:pt x="812" y="2373"/>
                          <a:pt x="812" y="2373"/>
                        </a:cubicBezTo>
                        <a:cubicBezTo>
                          <a:pt x="777" y="2273"/>
                          <a:pt x="777" y="2273"/>
                          <a:pt x="777" y="2273"/>
                        </a:cubicBezTo>
                        <a:cubicBezTo>
                          <a:pt x="777" y="2273"/>
                          <a:pt x="787" y="2214"/>
                          <a:pt x="788" y="2211"/>
                        </a:cubicBezTo>
                        <a:cubicBezTo>
                          <a:pt x="789" y="2208"/>
                          <a:pt x="807" y="2206"/>
                          <a:pt x="825" y="2198"/>
                        </a:cubicBezTo>
                        <a:cubicBezTo>
                          <a:pt x="843" y="2190"/>
                          <a:pt x="853" y="2177"/>
                          <a:pt x="853" y="2177"/>
                        </a:cubicBezTo>
                        <a:cubicBezTo>
                          <a:pt x="885" y="2188"/>
                          <a:pt x="885" y="2188"/>
                          <a:pt x="885" y="2188"/>
                        </a:cubicBezTo>
                        <a:cubicBezTo>
                          <a:pt x="900" y="2173"/>
                          <a:pt x="900" y="2173"/>
                          <a:pt x="900" y="2173"/>
                        </a:cubicBezTo>
                        <a:cubicBezTo>
                          <a:pt x="900" y="2173"/>
                          <a:pt x="923" y="2176"/>
                          <a:pt x="940" y="2163"/>
                        </a:cubicBezTo>
                        <a:cubicBezTo>
                          <a:pt x="957" y="2150"/>
                          <a:pt x="971" y="2110"/>
                          <a:pt x="971" y="2110"/>
                        </a:cubicBezTo>
                        <a:cubicBezTo>
                          <a:pt x="971" y="2110"/>
                          <a:pt x="990" y="2086"/>
                          <a:pt x="992" y="2082"/>
                        </a:cubicBezTo>
                        <a:cubicBezTo>
                          <a:pt x="994" y="2078"/>
                          <a:pt x="1005" y="2043"/>
                          <a:pt x="1005" y="2043"/>
                        </a:cubicBezTo>
                        <a:cubicBezTo>
                          <a:pt x="1005" y="2043"/>
                          <a:pt x="1094" y="2067"/>
                          <a:pt x="1097" y="2067"/>
                        </a:cubicBezTo>
                        <a:cubicBezTo>
                          <a:pt x="1100" y="2067"/>
                          <a:pt x="1119" y="2043"/>
                          <a:pt x="1139" y="2029"/>
                        </a:cubicBezTo>
                        <a:cubicBezTo>
                          <a:pt x="1159" y="2015"/>
                          <a:pt x="1187" y="2025"/>
                          <a:pt x="1187" y="2025"/>
                        </a:cubicBezTo>
                        <a:cubicBezTo>
                          <a:pt x="1187" y="2025"/>
                          <a:pt x="1187" y="2017"/>
                          <a:pt x="1189" y="2010"/>
                        </a:cubicBezTo>
                        <a:cubicBezTo>
                          <a:pt x="1191" y="2003"/>
                          <a:pt x="1207" y="1990"/>
                          <a:pt x="1207" y="1990"/>
                        </a:cubicBezTo>
                        <a:cubicBezTo>
                          <a:pt x="1207" y="1936"/>
                          <a:pt x="1207" y="1936"/>
                          <a:pt x="1207" y="1936"/>
                        </a:cubicBezTo>
                        <a:cubicBezTo>
                          <a:pt x="1207" y="1936"/>
                          <a:pt x="1233" y="1924"/>
                          <a:pt x="1236" y="1924"/>
                        </a:cubicBezTo>
                        <a:cubicBezTo>
                          <a:pt x="1239" y="1924"/>
                          <a:pt x="1276" y="1925"/>
                          <a:pt x="1286" y="1924"/>
                        </a:cubicBezTo>
                        <a:cubicBezTo>
                          <a:pt x="1296" y="1923"/>
                          <a:pt x="1295" y="1877"/>
                          <a:pt x="1295" y="1877"/>
                        </a:cubicBezTo>
                        <a:cubicBezTo>
                          <a:pt x="1267" y="1849"/>
                          <a:pt x="1267" y="1849"/>
                          <a:pt x="1267" y="1849"/>
                        </a:cubicBezTo>
                        <a:cubicBezTo>
                          <a:pt x="1285" y="1820"/>
                          <a:pt x="1285" y="1820"/>
                          <a:pt x="1285" y="1820"/>
                        </a:cubicBezTo>
                        <a:cubicBezTo>
                          <a:pt x="1271" y="1794"/>
                          <a:pt x="1271" y="1794"/>
                          <a:pt x="1271" y="1794"/>
                        </a:cubicBezTo>
                        <a:cubicBezTo>
                          <a:pt x="1302" y="1756"/>
                          <a:pt x="1302" y="1756"/>
                          <a:pt x="1302" y="1756"/>
                        </a:cubicBezTo>
                        <a:cubicBezTo>
                          <a:pt x="1318" y="1751"/>
                          <a:pt x="1318" y="1751"/>
                          <a:pt x="1318" y="1751"/>
                        </a:cubicBezTo>
                        <a:cubicBezTo>
                          <a:pt x="1318" y="1751"/>
                          <a:pt x="1328" y="1732"/>
                          <a:pt x="1334" y="1722"/>
                        </a:cubicBezTo>
                        <a:cubicBezTo>
                          <a:pt x="1340" y="1712"/>
                          <a:pt x="1356" y="1691"/>
                          <a:pt x="1356" y="1691"/>
                        </a:cubicBezTo>
                        <a:cubicBezTo>
                          <a:pt x="1356" y="1691"/>
                          <a:pt x="1351" y="1658"/>
                          <a:pt x="1355" y="1641"/>
                        </a:cubicBezTo>
                        <a:cubicBezTo>
                          <a:pt x="1359" y="1624"/>
                          <a:pt x="1369" y="1597"/>
                          <a:pt x="1369" y="1597"/>
                        </a:cubicBezTo>
                        <a:cubicBezTo>
                          <a:pt x="1355" y="1573"/>
                          <a:pt x="1355" y="1573"/>
                          <a:pt x="1355" y="1573"/>
                        </a:cubicBezTo>
                        <a:cubicBezTo>
                          <a:pt x="1364" y="1516"/>
                          <a:pt x="1364" y="1516"/>
                          <a:pt x="1364" y="1516"/>
                        </a:cubicBezTo>
                        <a:cubicBezTo>
                          <a:pt x="1382" y="1514"/>
                          <a:pt x="1382" y="1514"/>
                          <a:pt x="1382" y="1514"/>
                        </a:cubicBezTo>
                        <a:cubicBezTo>
                          <a:pt x="1379" y="1378"/>
                          <a:pt x="1379" y="1378"/>
                          <a:pt x="1379" y="1378"/>
                        </a:cubicBezTo>
                        <a:cubicBezTo>
                          <a:pt x="1332" y="1376"/>
                          <a:pt x="1332" y="1376"/>
                          <a:pt x="1332" y="1376"/>
                        </a:cubicBezTo>
                        <a:cubicBezTo>
                          <a:pt x="1355" y="1343"/>
                          <a:pt x="1355" y="1343"/>
                          <a:pt x="1355" y="1343"/>
                        </a:cubicBezTo>
                        <a:cubicBezTo>
                          <a:pt x="1355" y="1343"/>
                          <a:pt x="1387" y="1325"/>
                          <a:pt x="1392" y="1319"/>
                        </a:cubicBezTo>
                        <a:cubicBezTo>
                          <a:pt x="1397" y="1313"/>
                          <a:pt x="1411" y="1314"/>
                          <a:pt x="1424" y="1311"/>
                        </a:cubicBezTo>
                        <a:cubicBezTo>
                          <a:pt x="1437" y="1308"/>
                          <a:pt x="1420" y="1304"/>
                          <a:pt x="1446" y="1284"/>
                        </a:cubicBezTo>
                        <a:cubicBezTo>
                          <a:pt x="1472" y="1264"/>
                          <a:pt x="1466" y="1274"/>
                          <a:pt x="1478" y="1274"/>
                        </a:cubicBezTo>
                        <a:cubicBezTo>
                          <a:pt x="1490" y="1274"/>
                          <a:pt x="1516" y="1241"/>
                          <a:pt x="1516" y="1241"/>
                        </a:cubicBezTo>
                        <a:cubicBezTo>
                          <a:pt x="1516" y="1241"/>
                          <a:pt x="1617" y="1248"/>
                          <a:pt x="1645" y="1228"/>
                        </a:cubicBezTo>
                        <a:cubicBezTo>
                          <a:pt x="1673" y="1208"/>
                          <a:pt x="1687" y="1164"/>
                          <a:pt x="1687" y="1164"/>
                        </a:cubicBezTo>
                        <a:cubicBezTo>
                          <a:pt x="1687" y="1164"/>
                          <a:pt x="1675" y="1150"/>
                          <a:pt x="1674" y="1137"/>
                        </a:cubicBezTo>
                        <a:cubicBezTo>
                          <a:pt x="1673" y="1124"/>
                          <a:pt x="1697" y="1105"/>
                          <a:pt x="1697" y="1105"/>
                        </a:cubicBezTo>
                        <a:cubicBezTo>
                          <a:pt x="1697" y="1034"/>
                          <a:pt x="1697" y="1034"/>
                          <a:pt x="1697" y="1034"/>
                        </a:cubicBezTo>
                        <a:cubicBezTo>
                          <a:pt x="1697" y="1034"/>
                          <a:pt x="1727" y="1000"/>
                          <a:pt x="1733" y="981"/>
                        </a:cubicBezTo>
                        <a:cubicBezTo>
                          <a:pt x="1739" y="962"/>
                          <a:pt x="1699" y="966"/>
                          <a:pt x="1671" y="954"/>
                        </a:cubicBezTo>
                        <a:cubicBezTo>
                          <a:pt x="1643" y="942"/>
                          <a:pt x="1665" y="903"/>
                          <a:pt x="1665" y="896"/>
                        </a:cubicBezTo>
                        <a:cubicBezTo>
                          <a:pt x="1665" y="889"/>
                          <a:pt x="1680" y="894"/>
                          <a:pt x="1687" y="890"/>
                        </a:cubicBezTo>
                        <a:cubicBezTo>
                          <a:pt x="1694" y="886"/>
                          <a:pt x="1697" y="867"/>
                          <a:pt x="1709" y="849"/>
                        </a:cubicBezTo>
                        <a:cubicBezTo>
                          <a:pt x="1721" y="831"/>
                          <a:pt x="1681" y="807"/>
                          <a:pt x="1680" y="789"/>
                        </a:cubicBezTo>
                        <a:cubicBezTo>
                          <a:pt x="1679" y="771"/>
                          <a:pt x="1715" y="767"/>
                          <a:pt x="1715" y="767"/>
                        </a:cubicBezTo>
                        <a:cubicBezTo>
                          <a:pt x="1744" y="707"/>
                          <a:pt x="1744" y="707"/>
                          <a:pt x="1744" y="707"/>
                        </a:cubicBezTo>
                        <a:cubicBezTo>
                          <a:pt x="1809" y="698"/>
                          <a:pt x="1809" y="698"/>
                          <a:pt x="1809" y="698"/>
                        </a:cubicBezTo>
                        <a:cubicBezTo>
                          <a:pt x="1809" y="698"/>
                          <a:pt x="1843" y="666"/>
                          <a:pt x="1843" y="659"/>
                        </a:cubicBezTo>
                        <a:cubicBezTo>
                          <a:pt x="1843" y="652"/>
                          <a:pt x="1868" y="645"/>
                          <a:pt x="1871" y="641"/>
                        </a:cubicBezTo>
                        <a:cubicBezTo>
                          <a:pt x="1874" y="637"/>
                          <a:pt x="1871" y="614"/>
                          <a:pt x="1872" y="597"/>
                        </a:cubicBezTo>
                        <a:cubicBezTo>
                          <a:pt x="1873" y="580"/>
                          <a:pt x="1906" y="563"/>
                          <a:pt x="1906" y="551"/>
                        </a:cubicBezTo>
                        <a:cubicBezTo>
                          <a:pt x="1906" y="539"/>
                          <a:pt x="1910" y="502"/>
                          <a:pt x="1921" y="457"/>
                        </a:cubicBezTo>
                        <a:cubicBezTo>
                          <a:pt x="1932" y="412"/>
                          <a:pt x="1961" y="361"/>
                          <a:pt x="1961" y="361"/>
                        </a:cubicBezTo>
                        <a:cubicBezTo>
                          <a:pt x="1961" y="361"/>
                          <a:pt x="1935" y="314"/>
                          <a:pt x="1931" y="268"/>
                        </a:cubicBezTo>
                        <a:cubicBezTo>
                          <a:pt x="1927" y="222"/>
                          <a:pt x="1998" y="181"/>
                          <a:pt x="1998" y="181"/>
                        </a:cubicBezTo>
                        <a:cubicBezTo>
                          <a:pt x="1998" y="181"/>
                          <a:pt x="1997" y="136"/>
                          <a:pt x="2007" y="116"/>
                        </a:cubicBezTo>
                        <a:cubicBezTo>
                          <a:pt x="2017" y="96"/>
                          <a:pt x="2072" y="12"/>
                          <a:pt x="2072" y="12"/>
                        </a:cubicBezTo>
                        <a:cubicBezTo>
                          <a:pt x="2072" y="0"/>
                          <a:pt x="2072" y="0"/>
                          <a:pt x="2072" y="0"/>
                        </a:cubicBezTo>
                        <a:cubicBezTo>
                          <a:pt x="2040" y="0"/>
                          <a:pt x="1987" y="1"/>
                          <a:pt x="1981" y="2"/>
                        </a:cubicBezTo>
                        <a:cubicBezTo>
                          <a:pt x="1972" y="2"/>
                          <a:pt x="1964" y="12"/>
                          <a:pt x="1946" y="22"/>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Freeform 546">
                    <a:extLst>
                      <a:ext uri="{FF2B5EF4-FFF2-40B4-BE49-F238E27FC236}">
                        <a16:creationId xmlns:a16="http://schemas.microsoft.com/office/drawing/2014/main" id="{92781629-9B45-AFE8-0A60-B19BA31C8CCE}"/>
                      </a:ext>
                    </a:extLst>
                  </p:cNvPr>
                  <p:cNvSpPr>
                    <a:spLocks noChangeAspect="1"/>
                  </p:cNvSpPr>
                  <p:nvPr/>
                </p:nvSpPr>
                <p:spPr bwMode="auto">
                  <a:xfrm>
                    <a:off x="5315816" y="5233076"/>
                    <a:ext cx="420475" cy="389032"/>
                  </a:xfrm>
                  <a:custGeom>
                    <a:avLst/>
                    <a:gdLst>
                      <a:gd name="T0" fmla="*/ 981 w 1077"/>
                      <a:gd name="T1" fmla="*/ 857 h 994"/>
                      <a:gd name="T2" fmla="*/ 1011 w 1077"/>
                      <a:gd name="T3" fmla="*/ 803 h 994"/>
                      <a:gd name="T4" fmla="*/ 1023 w 1077"/>
                      <a:gd name="T5" fmla="*/ 761 h 994"/>
                      <a:gd name="T6" fmla="*/ 992 w 1077"/>
                      <a:gd name="T7" fmla="*/ 692 h 994"/>
                      <a:gd name="T8" fmla="*/ 1015 w 1077"/>
                      <a:gd name="T9" fmla="*/ 644 h 994"/>
                      <a:gd name="T10" fmla="*/ 1059 w 1077"/>
                      <a:gd name="T11" fmla="*/ 606 h 994"/>
                      <a:gd name="T12" fmla="*/ 1053 w 1077"/>
                      <a:gd name="T13" fmla="*/ 577 h 994"/>
                      <a:gd name="T14" fmla="*/ 940 w 1077"/>
                      <a:gd name="T15" fmla="*/ 588 h 994"/>
                      <a:gd name="T16" fmla="*/ 939 w 1077"/>
                      <a:gd name="T17" fmla="*/ 561 h 994"/>
                      <a:gd name="T18" fmla="*/ 885 w 1077"/>
                      <a:gd name="T19" fmla="*/ 525 h 994"/>
                      <a:gd name="T20" fmla="*/ 900 w 1077"/>
                      <a:gd name="T21" fmla="*/ 456 h 994"/>
                      <a:gd name="T22" fmla="*/ 939 w 1077"/>
                      <a:gd name="T23" fmla="*/ 392 h 994"/>
                      <a:gd name="T24" fmla="*/ 911 w 1077"/>
                      <a:gd name="T25" fmla="*/ 340 h 994"/>
                      <a:gd name="T26" fmla="*/ 965 w 1077"/>
                      <a:gd name="T27" fmla="*/ 226 h 994"/>
                      <a:gd name="T28" fmla="*/ 1019 w 1077"/>
                      <a:gd name="T29" fmla="*/ 206 h 994"/>
                      <a:gd name="T30" fmla="*/ 1055 w 1077"/>
                      <a:gd name="T31" fmla="*/ 143 h 994"/>
                      <a:gd name="T32" fmla="*/ 1027 w 1077"/>
                      <a:gd name="T33" fmla="*/ 78 h 994"/>
                      <a:gd name="T34" fmla="*/ 991 w 1077"/>
                      <a:gd name="T35" fmla="*/ 0 h 994"/>
                      <a:gd name="T36" fmla="*/ 1010 w 1077"/>
                      <a:gd name="T37" fmla="*/ 19 h 994"/>
                      <a:gd name="T38" fmla="*/ 986 w 1077"/>
                      <a:gd name="T39" fmla="*/ 56 h 994"/>
                      <a:gd name="T40" fmla="*/ 835 w 1077"/>
                      <a:gd name="T41" fmla="*/ 84 h 994"/>
                      <a:gd name="T42" fmla="*/ 778 w 1077"/>
                      <a:gd name="T43" fmla="*/ 126 h 994"/>
                      <a:gd name="T44" fmla="*/ 734 w 1077"/>
                      <a:gd name="T45" fmla="*/ 196 h 994"/>
                      <a:gd name="T46" fmla="*/ 674 w 1077"/>
                      <a:gd name="T47" fmla="*/ 216 h 994"/>
                      <a:gd name="T48" fmla="*/ 609 w 1077"/>
                      <a:gd name="T49" fmla="*/ 244 h 994"/>
                      <a:gd name="T50" fmla="*/ 520 w 1077"/>
                      <a:gd name="T51" fmla="*/ 204 h 994"/>
                      <a:gd name="T52" fmla="*/ 485 w 1077"/>
                      <a:gd name="T53" fmla="*/ 250 h 994"/>
                      <a:gd name="T54" fmla="*/ 411 w 1077"/>
                      <a:gd name="T55" fmla="*/ 299 h 994"/>
                      <a:gd name="T56" fmla="*/ 305 w 1077"/>
                      <a:gd name="T57" fmla="*/ 340 h 994"/>
                      <a:gd name="T58" fmla="*/ 176 w 1077"/>
                      <a:gd name="T59" fmla="*/ 289 h 994"/>
                      <a:gd name="T60" fmla="*/ 68 w 1077"/>
                      <a:gd name="T61" fmla="*/ 229 h 994"/>
                      <a:gd name="T62" fmla="*/ 42 w 1077"/>
                      <a:gd name="T63" fmla="*/ 294 h 994"/>
                      <a:gd name="T64" fmla="*/ 115 w 1077"/>
                      <a:gd name="T65" fmla="*/ 502 h 994"/>
                      <a:gd name="T66" fmla="*/ 334 w 1077"/>
                      <a:gd name="T67" fmla="*/ 781 h 994"/>
                      <a:gd name="T68" fmla="*/ 420 w 1077"/>
                      <a:gd name="T69" fmla="*/ 858 h 994"/>
                      <a:gd name="T70" fmla="*/ 459 w 1077"/>
                      <a:gd name="T71" fmla="*/ 897 h 994"/>
                      <a:gd name="T72" fmla="*/ 609 w 1077"/>
                      <a:gd name="T73" fmla="*/ 971 h 994"/>
                      <a:gd name="T74" fmla="*/ 938 w 1077"/>
                      <a:gd name="T75" fmla="*/ 976 h 994"/>
                      <a:gd name="T76" fmla="*/ 930 w 1077"/>
                      <a:gd name="T77" fmla="*/ 930 h 994"/>
                      <a:gd name="T78" fmla="*/ 993 w 1077"/>
                      <a:gd name="T79" fmla="*/ 953 h 994"/>
                      <a:gd name="T80" fmla="*/ 962 w 1077"/>
                      <a:gd name="T81" fmla="*/ 901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7" h="994">
                        <a:moveTo>
                          <a:pt x="962" y="901"/>
                        </a:moveTo>
                        <a:cubicBezTo>
                          <a:pt x="963" y="894"/>
                          <a:pt x="979" y="879"/>
                          <a:pt x="981" y="857"/>
                        </a:cubicBezTo>
                        <a:cubicBezTo>
                          <a:pt x="982" y="835"/>
                          <a:pt x="979" y="826"/>
                          <a:pt x="986" y="820"/>
                        </a:cubicBezTo>
                        <a:cubicBezTo>
                          <a:pt x="993" y="814"/>
                          <a:pt x="1011" y="803"/>
                          <a:pt x="1011" y="803"/>
                        </a:cubicBezTo>
                        <a:cubicBezTo>
                          <a:pt x="1011" y="803"/>
                          <a:pt x="1005" y="783"/>
                          <a:pt x="1007" y="781"/>
                        </a:cubicBezTo>
                        <a:cubicBezTo>
                          <a:pt x="1009" y="779"/>
                          <a:pt x="1023" y="761"/>
                          <a:pt x="1023" y="761"/>
                        </a:cubicBezTo>
                        <a:cubicBezTo>
                          <a:pt x="1023" y="761"/>
                          <a:pt x="1005" y="742"/>
                          <a:pt x="1000" y="724"/>
                        </a:cubicBezTo>
                        <a:cubicBezTo>
                          <a:pt x="995" y="705"/>
                          <a:pt x="997" y="698"/>
                          <a:pt x="992" y="692"/>
                        </a:cubicBezTo>
                        <a:cubicBezTo>
                          <a:pt x="987" y="685"/>
                          <a:pt x="970" y="678"/>
                          <a:pt x="977" y="672"/>
                        </a:cubicBezTo>
                        <a:cubicBezTo>
                          <a:pt x="983" y="667"/>
                          <a:pt x="1009" y="644"/>
                          <a:pt x="1015" y="644"/>
                        </a:cubicBezTo>
                        <a:cubicBezTo>
                          <a:pt x="1022" y="644"/>
                          <a:pt x="1034" y="639"/>
                          <a:pt x="1041" y="629"/>
                        </a:cubicBezTo>
                        <a:cubicBezTo>
                          <a:pt x="1047" y="619"/>
                          <a:pt x="1057" y="606"/>
                          <a:pt x="1059" y="606"/>
                        </a:cubicBezTo>
                        <a:cubicBezTo>
                          <a:pt x="1062" y="606"/>
                          <a:pt x="1077" y="596"/>
                          <a:pt x="1077" y="596"/>
                        </a:cubicBezTo>
                        <a:cubicBezTo>
                          <a:pt x="1077" y="596"/>
                          <a:pt x="1070" y="576"/>
                          <a:pt x="1053" y="577"/>
                        </a:cubicBezTo>
                        <a:cubicBezTo>
                          <a:pt x="1037" y="578"/>
                          <a:pt x="955" y="602"/>
                          <a:pt x="955" y="602"/>
                        </a:cubicBezTo>
                        <a:cubicBezTo>
                          <a:pt x="940" y="588"/>
                          <a:pt x="940" y="588"/>
                          <a:pt x="940" y="588"/>
                        </a:cubicBezTo>
                        <a:cubicBezTo>
                          <a:pt x="940" y="588"/>
                          <a:pt x="929" y="591"/>
                          <a:pt x="928" y="582"/>
                        </a:cubicBezTo>
                        <a:cubicBezTo>
                          <a:pt x="927" y="572"/>
                          <a:pt x="942" y="566"/>
                          <a:pt x="939" y="561"/>
                        </a:cubicBezTo>
                        <a:cubicBezTo>
                          <a:pt x="935" y="556"/>
                          <a:pt x="902" y="553"/>
                          <a:pt x="902" y="553"/>
                        </a:cubicBezTo>
                        <a:cubicBezTo>
                          <a:pt x="902" y="553"/>
                          <a:pt x="892" y="526"/>
                          <a:pt x="885" y="525"/>
                        </a:cubicBezTo>
                        <a:cubicBezTo>
                          <a:pt x="879" y="524"/>
                          <a:pt x="873" y="512"/>
                          <a:pt x="875" y="496"/>
                        </a:cubicBezTo>
                        <a:cubicBezTo>
                          <a:pt x="877" y="479"/>
                          <a:pt x="893" y="464"/>
                          <a:pt x="900" y="456"/>
                        </a:cubicBezTo>
                        <a:cubicBezTo>
                          <a:pt x="907" y="449"/>
                          <a:pt x="912" y="438"/>
                          <a:pt x="923" y="427"/>
                        </a:cubicBezTo>
                        <a:cubicBezTo>
                          <a:pt x="935" y="416"/>
                          <a:pt x="945" y="397"/>
                          <a:pt x="939" y="392"/>
                        </a:cubicBezTo>
                        <a:cubicBezTo>
                          <a:pt x="934" y="388"/>
                          <a:pt x="920" y="394"/>
                          <a:pt x="918" y="386"/>
                        </a:cubicBezTo>
                        <a:cubicBezTo>
                          <a:pt x="916" y="378"/>
                          <a:pt x="908" y="349"/>
                          <a:pt x="911" y="340"/>
                        </a:cubicBezTo>
                        <a:cubicBezTo>
                          <a:pt x="913" y="332"/>
                          <a:pt x="931" y="312"/>
                          <a:pt x="942" y="289"/>
                        </a:cubicBezTo>
                        <a:cubicBezTo>
                          <a:pt x="953" y="266"/>
                          <a:pt x="963" y="237"/>
                          <a:pt x="965" y="226"/>
                        </a:cubicBezTo>
                        <a:cubicBezTo>
                          <a:pt x="968" y="216"/>
                          <a:pt x="981" y="184"/>
                          <a:pt x="987" y="186"/>
                        </a:cubicBezTo>
                        <a:cubicBezTo>
                          <a:pt x="994" y="188"/>
                          <a:pt x="1019" y="208"/>
                          <a:pt x="1019" y="206"/>
                        </a:cubicBezTo>
                        <a:cubicBezTo>
                          <a:pt x="1019" y="204"/>
                          <a:pt x="1037" y="196"/>
                          <a:pt x="1043" y="184"/>
                        </a:cubicBezTo>
                        <a:cubicBezTo>
                          <a:pt x="1049" y="172"/>
                          <a:pt x="1053" y="146"/>
                          <a:pt x="1055" y="143"/>
                        </a:cubicBezTo>
                        <a:cubicBezTo>
                          <a:pt x="1058" y="140"/>
                          <a:pt x="1049" y="134"/>
                          <a:pt x="1045" y="124"/>
                        </a:cubicBezTo>
                        <a:cubicBezTo>
                          <a:pt x="1042" y="113"/>
                          <a:pt x="1026" y="88"/>
                          <a:pt x="1027" y="78"/>
                        </a:cubicBezTo>
                        <a:cubicBezTo>
                          <a:pt x="1027" y="68"/>
                          <a:pt x="1065" y="15"/>
                          <a:pt x="1059" y="10"/>
                        </a:cubicBezTo>
                        <a:cubicBezTo>
                          <a:pt x="1055" y="6"/>
                          <a:pt x="1014" y="2"/>
                          <a:pt x="991" y="0"/>
                        </a:cubicBezTo>
                        <a:cubicBezTo>
                          <a:pt x="992" y="2"/>
                          <a:pt x="992" y="3"/>
                          <a:pt x="992" y="3"/>
                        </a:cubicBezTo>
                        <a:cubicBezTo>
                          <a:pt x="993" y="5"/>
                          <a:pt x="1003" y="12"/>
                          <a:pt x="1010" y="19"/>
                        </a:cubicBezTo>
                        <a:cubicBezTo>
                          <a:pt x="1017" y="26"/>
                          <a:pt x="1008" y="40"/>
                          <a:pt x="1005" y="44"/>
                        </a:cubicBezTo>
                        <a:cubicBezTo>
                          <a:pt x="1003" y="47"/>
                          <a:pt x="991" y="55"/>
                          <a:pt x="986" y="56"/>
                        </a:cubicBezTo>
                        <a:cubicBezTo>
                          <a:pt x="982" y="57"/>
                          <a:pt x="978" y="63"/>
                          <a:pt x="956" y="78"/>
                        </a:cubicBezTo>
                        <a:cubicBezTo>
                          <a:pt x="934" y="93"/>
                          <a:pt x="847" y="83"/>
                          <a:pt x="835" y="84"/>
                        </a:cubicBezTo>
                        <a:cubicBezTo>
                          <a:pt x="823" y="84"/>
                          <a:pt x="791" y="134"/>
                          <a:pt x="791" y="134"/>
                        </a:cubicBezTo>
                        <a:cubicBezTo>
                          <a:pt x="778" y="126"/>
                          <a:pt x="778" y="126"/>
                          <a:pt x="778" y="126"/>
                        </a:cubicBezTo>
                        <a:cubicBezTo>
                          <a:pt x="778" y="126"/>
                          <a:pt x="762" y="121"/>
                          <a:pt x="742" y="128"/>
                        </a:cubicBezTo>
                        <a:cubicBezTo>
                          <a:pt x="722" y="134"/>
                          <a:pt x="741" y="184"/>
                          <a:pt x="734" y="196"/>
                        </a:cubicBezTo>
                        <a:cubicBezTo>
                          <a:pt x="727" y="207"/>
                          <a:pt x="715" y="215"/>
                          <a:pt x="709" y="221"/>
                        </a:cubicBezTo>
                        <a:cubicBezTo>
                          <a:pt x="704" y="227"/>
                          <a:pt x="674" y="216"/>
                          <a:pt x="674" y="216"/>
                        </a:cubicBezTo>
                        <a:cubicBezTo>
                          <a:pt x="674" y="216"/>
                          <a:pt x="654" y="212"/>
                          <a:pt x="639" y="212"/>
                        </a:cubicBezTo>
                        <a:cubicBezTo>
                          <a:pt x="625" y="212"/>
                          <a:pt x="612" y="236"/>
                          <a:pt x="609" y="244"/>
                        </a:cubicBezTo>
                        <a:cubicBezTo>
                          <a:pt x="605" y="252"/>
                          <a:pt x="596" y="252"/>
                          <a:pt x="583" y="254"/>
                        </a:cubicBezTo>
                        <a:cubicBezTo>
                          <a:pt x="571" y="257"/>
                          <a:pt x="520" y="204"/>
                          <a:pt x="520" y="204"/>
                        </a:cubicBezTo>
                        <a:cubicBezTo>
                          <a:pt x="520" y="204"/>
                          <a:pt x="497" y="214"/>
                          <a:pt x="495" y="218"/>
                        </a:cubicBezTo>
                        <a:cubicBezTo>
                          <a:pt x="492" y="222"/>
                          <a:pt x="490" y="240"/>
                          <a:pt x="485" y="250"/>
                        </a:cubicBezTo>
                        <a:cubicBezTo>
                          <a:pt x="479" y="261"/>
                          <a:pt x="468" y="261"/>
                          <a:pt x="454" y="268"/>
                        </a:cubicBezTo>
                        <a:cubicBezTo>
                          <a:pt x="440" y="274"/>
                          <a:pt x="419" y="292"/>
                          <a:pt x="411" y="299"/>
                        </a:cubicBezTo>
                        <a:cubicBezTo>
                          <a:pt x="403" y="306"/>
                          <a:pt x="363" y="308"/>
                          <a:pt x="349" y="309"/>
                        </a:cubicBezTo>
                        <a:cubicBezTo>
                          <a:pt x="335" y="310"/>
                          <a:pt x="329" y="327"/>
                          <a:pt x="305" y="340"/>
                        </a:cubicBezTo>
                        <a:cubicBezTo>
                          <a:pt x="281" y="353"/>
                          <a:pt x="264" y="309"/>
                          <a:pt x="248" y="306"/>
                        </a:cubicBezTo>
                        <a:cubicBezTo>
                          <a:pt x="232" y="303"/>
                          <a:pt x="183" y="296"/>
                          <a:pt x="176" y="289"/>
                        </a:cubicBezTo>
                        <a:cubicBezTo>
                          <a:pt x="169" y="282"/>
                          <a:pt x="152" y="287"/>
                          <a:pt x="144" y="283"/>
                        </a:cubicBezTo>
                        <a:cubicBezTo>
                          <a:pt x="136" y="279"/>
                          <a:pt x="100" y="242"/>
                          <a:pt x="68" y="229"/>
                        </a:cubicBezTo>
                        <a:cubicBezTo>
                          <a:pt x="52" y="223"/>
                          <a:pt x="24" y="219"/>
                          <a:pt x="0" y="218"/>
                        </a:cubicBezTo>
                        <a:cubicBezTo>
                          <a:pt x="6" y="229"/>
                          <a:pt x="17" y="246"/>
                          <a:pt x="42" y="294"/>
                        </a:cubicBezTo>
                        <a:cubicBezTo>
                          <a:pt x="78" y="365"/>
                          <a:pt x="81" y="420"/>
                          <a:pt x="81" y="442"/>
                        </a:cubicBezTo>
                        <a:cubicBezTo>
                          <a:pt x="81" y="464"/>
                          <a:pt x="99" y="482"/>
                          <a:pt x="115" y="502"/>
                        </a:cubicBezTo>
                        <a:cubicBezTo>
                          <a:pt x="131" y="522"/>
                          <a:pt x="143" y="558"/>
                          <a:pt x="217" y="668"/>
                        </a:cubicBezTo>
                        <a:cubicBezTo>
                          <a:pt x="291" y="778"/>
                          <a:pt x="318" y="775"/>
                          <a:pt x="334" y="781"/>
                        </a:cubicBezTo>
                        <a:cubicBezTo>
                          <a:pt x="350" y="787"/>
                          <a:pt x="373" y="830"/>
                          <a:pt x="384" y="839"/>
                        </a:cubicBezTo>
                        <a:cubicBezTo>
                          <a:pt x="395" y="848"/>
                          <a:pt x="412" y="857"/>
                          <a:pt x="420" y="858"/>
                        </a:cubicBezTo>
                        <a:cubicBezTo>
                          <a:pt x="428" y="859"/>
                          <a:pt x="429" y="871"/>
                          <a:pt x="431" y="885"/>
                        </a:cubicBezTo>
                        <a:cubicBezTo>
                          <a:pt x="433" y="899"/>
                          <a:pt x="449" y="897"/>
                          <a:pt x="459" y="897"/>
                        </a:cubicBezTo>
                        <a:cubicBezTo>
                          <a:pt x="469" y="897"/>
                          <a:pt x="562" y="965"/>
                          <a:pt x="562" y="965"/>
                        </a:cubicBezTo>
                        <a:cubicBezTo>
                          <a:pt x="562" y="965"/>
                          <a:pt x="590" y="971"/>
                          <a:pt x="609" y="971"/>
                        </a:cubicBezTo>
                        <a:cubicBezTo>
                          <a:pt x="628" y="971"/>
                          <a:pt x="643" y="994"/>
                          <a:pt x="643" y="994"/>
                        </a:cubicBezTo>
                        <a:cubicBezTo>
                          <a:pt x="938" y="976"/>
                          <a:pt x="938" y="976"/>
                          <a:pt x="938" y="976"/>
                        </a:cubicBezTo>
                        <a:cubicBezTo>
                          <a:pt x="938" y="976"/>
                          <a:pt x="913" y="945"/>
                          <a:pt x="913" y="942"/>
                        </a:cubicBezTo>
                        <a:cubicBezTo>
                          <a:pt x="913" y="939"/>
                          <a:pt x="915" y="933"/>
                          <a:pt x="930" y="930"/>
                        </a:cubicBezTo>
                        <a:cubicBezTo>
                          <a:pt x="945" y="927"/>
                          <a:pt x="957" y="958"/>
                          <a:pt x="957" y="958"/>
                        </a:cubicBezTo>
                        <a:cubicBezTo>
                          <a:pt x="957" y="958"/>
                          <a:pt x="974" y="956"/>
                          <a:pt x="993" y="953"/>
                        </a:cubicBezTo>
                        <a:cubicBezTo>
                          <a:pt x="991" y="949"/>
                          <a:pt x="989" y="946"/>
                          <a:pt x="987" y="943"/>
                        </a:cubicBezTo>
                        <a:cubicBezTo>
                          <a:pt x="975" y="932"/>
                          <a:pt x="961" y="908"/>
                          <a:pt x="962" y="901"/>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Freeform 547">
                    <a:extLst>
                      <a:ext uri="{FF2B5EF4-FFF2-40B4-BE49-F238E27FC236}">
                        <a16:creationId xmlns:a16="http://schemas.microsoft.com/office/drawing/2014/main" id="{EA196915-FA9E-82C3-FCB6-EA9FB745E5D3}"/>
                      </a:ext>
                    </a:extLst>
                  </p:cNvPr>
                  <p:cNvSpPr>
                    <a:spLocks noChangeAspect="1"/>
                  </p:cNvSpPr>
                  <p:nvPr/>
                </p:nvSpPr>
                <p:spPr bwMode="auto">
                  <a:xfrm>
                    <a:off x="5006553" y="2491724"/>
                    <a:ext cx="971524" cy="858265"/>
                  </a:xfrm>
                  <a:custGeom>
                    <a:avLst/>
                    <a:gdLst>
                      <a:gd name="T0" fmla="*/ 1775 w 2486"/>
                      <a:gd name="T1" fmla="*/ 91 h 2197"/>
                      <a:gd name="T2" fmla="*/ 1649 w 2486"/>
                      <a:gd name="T3" fmla="*/ 44 h 2197"/>
                      <a:gd name="T4" fmla="*/ 1456 w 2486"/>
                      <a:gd name="T5" fmla="*/ 12 h 2197"/>
                      <a:gd name="T6" fmla="*/ 1400 w 2486"/>
                      <a:gd name="T7" fmla="*/ 168 h 2197"/>
                      <a:gd name="T8" fmla="*/ 1458 w 2486"/>
                      <a:gd name="T9" fmla="*/ 225 h 2197"/>
                      <a:gd name="T10" fmla="*/ 1485 w 2486"/>
                      <a:gd name="T11" fmla="*/ 315 h 2197"/>
                      <a:gd name="T12" fmla="*/ 1412 w 2486"/>
                      <a:gd name="T13" fmla="*/ 436 h 2197"/>
                      <a:gd name="T14" fmla="*/ 1241 w 2486"/>
                      <a:gd name="T15" fmla="*/ 476 h 2197"/>
                      <a:gd name="T16" fmla="*/ 1036 w 2486"/>
                      <a:gd name="T17" fmla="*/ 592 h 2197"/>
                      <a:gd name="T18" fmla="*/ 934 w 2486"/>
                      <a:gd name="T19" fmla="*/ 655 h 2197"/>
                      <a:gd name="T20" fmla="*/ 966 w 2486"/>
                      <a:gd name="T21" fmla="*/ 870 h 2197"/>
                      <a:gd name="T22" fmla="*/ 500 w 2486"/>
                      <a:gd name="T23" fmla="*/ 979 h 2197"/>
                      <a:gd name="T24" fmla="*/ 297 w 2486"/>
                      <a:gd name="T25" fmla="*/ 1044 h 2197"/>
                      <a:gd name="T26" fmla="*/ 183 w 2486"/>
                      <a:gd name="T27" fmla="*/ 1117 h 2197"/>
                      <a:gd name="T28" fmla="*/ 99 w 2486"/>
                      <a:gd name="T29" fmla="*/ 1213 h 2197"/>
                      <a:gd name="T30" fmla="*/ 15 w 2486"/>
                      <a:gd name="T31" fmla="*/ 1492 h 2197"/>
                      <a:gd name="T32" fmla="*/ 101 w 2486"/>
                      <a:gd name="T33" fmla="*/ 1578 h 2197"/>
                      <a:gd name="T34" fmla="*/ 164 w 2486"/>
                      <a:gd name="T35" fmla="*/ 1490 h 2197"/>
                      <a:gd name="T36" fmla="*/ 344 w 2486"/>
                      <a:gd name="T37" fmla="*/ 1421 h 2197"/>
                      <a:gd name="T38" fmla="*/ 412 w 2486"/>
                      <a:gd name="T39" fmla="*/ 1423 h 2197"/>
                      <a:gd name="T40" fmla="*/ 450 w 2486"/>
                      <a:gd name="T41" fmla="*/ 1451 h 2197"/>
                      <a:gd name="T42" fmla="*/ 561 w 2486"/>
                      <a:gd name="T43" fmla="*/ 1464 h 2197"/>
                      <a:gd name="T44" fmla="*/ 658 w 2486"/>
                      <a:gd name="T45" fmla="*/ 1444 h 2197"/>
                      <a:gd name="T46" fmla="*/ 709 w 2486"/>
                      <a:gd name="T47" fmla="*/ 1406 h 2197"/>
                      <a:gd name="T48" fmla="*/ 798 w 2486"/>
                      <a:gd name="T49" fmla="*/ 1400 h 2197"/>
                      <a:gd name="T50" fmla="*/ 858 w 2486"/>
                      <a:gd name="T51" fmla="*/ 1483 h 2197"/>
                      <a:gd name="T52" fmla="*/ 921 w 2486"/>
                      <a:gd name="T53" fmla="*/ 1486 h 2197"/>
                      <a:gd name="T54" fmla="*/ 1046 w 2486"/>
                      <a:gd name="T55" fmla="*/ 1506 h 2197"/>
                      <a:gd name="T56" fmla="*/ 1103 w 2486"/>
                      <a:gd name="T57" fmla="*/ 1495 h 2197"/>
                      <a:gd name="T58" fmla="*/ 1230 w 2486"/>
                      <a:gd name="T59" fmla="*/ 1490 h 2197"/>
                      <a:gd name="T60" fmla="*/ 1309 w 2486"/>
                      <a:gd name="T61" fmla="*/ 1600 h 2197"/>
                      <a:gd name="T62" fmla="*/ 1305 w 2486"/>
                      <a:gd name="T63" fmla="*/ 1740 h 2197"/>
                      <a:gd name="T64" fmla="*/ 1410 w 2486"/>
                      <a:gd name="T65" fmla="*/ 1856 h 2197"/>
                      <a:gd name="T66" fmla="*/ 1420 w 2486"/>
                      <a:gd name="T67" fmla="*/ 1981 h 2197"/>
                      <a:gd name="T68" fmla="*/ 1472 w 2486"/>
                      <a:gd name="T69" fmla="*/ 2056 h 2197"/>
                      <a:gd name="T70" fmla="*/ 1522 w 2486"/>
                      <a:gd name="T71" fmla="*/ 2138 h 2197"/>
                      <a:gd name="T72" fmla="*/ 1537 w 2486"/>
                      <a:gd name="T73" fmla="*/ 2196 h 2197"/>
                      <a:gd name="T74" fmla="*/ 1610 w 2486"/>
                      <a:gd name="T75" fmla="*/ 2134 h 2197"/>
                      <a:gd name="T76" fmla="*/ 1731 w 2486"/>
                      <a:gd name="T77" fmla="*/ 2060 h 2197"/>
                      <a:gd name="T78" fmla="*/ 1883 w 2486"/>
                      <a:gd name="T79" fmla="*/ 2073 h 2197"/>
                      <a:gd name="T80" fmla="*/ 1977 w 2486"/>
                      <a:gd name="T81" fmla="*/ 2045 h 2197"/>
                      <a:gd name="T82" fmla="*/ 2036 w 2486"/>
                      <a:gd name="T83" fmla="*/ 1948 h 2197"/>
                      <a:gd name="T84" fmla="*/ 2076 w 2486"/>
                      <a:gd name="T85" fmla="*/ 1838 h 2197"/>
                      <a:gd name="T86" fmla="*/ 2157 w 2486"/>
                      <a:gd name="T87" fmla="*/ 1778 h 2197"/>
                      <a:gd name="T88" fmla="*/ 2173 w 2486"/>
                      <a:gd name="T89" fmla="*/ 1739 h 2197"/>
                      <a:gd name="T90" fmla="*/ 2154 w 2486"/>
                      <a:gd name="T91" fmla="*/ 1544 h 2197"/>
                      <a:gd name="T92" fmla="*/ 2237 w 2486"/>
                      <a:gd name="T93" fmla="*/ 1371 h 2197"/>
                      <a:gd name="T94" fmla="*/ 2369 w 2486"/>
                      <a:gd name="T95" fmla="*/ 1344 h 2197"/>
                      <a:gd name="T96" fmla="*/ 2452 w 2486"/>
                      <a:gd name="T97" fmla="*/ 1281 h 2197"/>
                      <a:gd name="T98" fmla="*/ 2480 w 2486"/>
                      <a:gd name="T99" fmla="*/ 1244 h 2197"/>
                      <a:gd name="T100" fmla="*/ 2387 w 2486"/>
                      <a:gd name="T101" fmla="*/ 1166 h 2197"/>
                      <a:gd name="T102" fmla="*/ 2408 w 2486"/>
                      <a:gd name="T103" fmla="*/ 1083 h 2197"/>
                      <a:gd name="T104" fmla="*/ 2382 w 2486"/>
                      <a:gd name="T105" fmla="*/ 940 h 2197"/>
                      <a:gd name="T106" fmla="*/ 2343 w 2486"/>
                      <a:gd name="T107" fmla="*/ 820 h 2197"/>
                      <a:gd name="T108" fmla="*/ 2302 w 2486"/>
                      <a:gd name="T109" fmla="*/ 571 h 2197"/>
                      <a:gd name="T110" fmla="*/ 2321 w 2486"/>
                      <a:gd name="T111" fmla="*/ 267 h 2197"/>
                      <a:gd name="T112" fmla="*/ 2155 w 2486"/>
                      <a:gd name="T113" fmla="*/ 223 h 2197"/>
                      <a:gd name="T114" fmla="*/ 2050 w 2486"/>
                      <a:gd name="T115" fmla="*/ 65 h 2197"/>
                      <a:gd name="T116" fmla="*/ 1951 w 2486"/>
                      <a:gd name="T117" fmla="*/ 8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6" h="2197">
                        <a:moveTo>
                          <a:pt x="1904" y="22"/>
                        </a:moveTo>
                        <a:cubicBezTo>
                          <a:pt x="1888" y="30"/>
                          <a:pt x="1866" y="46"/>
                          <a:pt x="1847" y="52"/>
                        </a:cubicBezTo>
                        <a:cubicBezTo>
                          <a:pt x="1828" y="57"/>
                          <a:pt x="1782" y="90"/>
                          <a:pt x="1775" y="91"/>
                        </a:cubicBezTo>
                        <a:cubicBezTo>
                          <a:pt x="1768" y="92"/>
                          <a:pt x="1727" y="72"/>
                          <a:pt x="1722" y="69"/>
                        </a:cubicBezTo>
                        <a:cubicBezTo>
                          <a:pt x="1718" y="66"/>
                          <a:pt x="1704" y="64"/>
                          <a:pt x="1684" y="64"/>
                        </a:cubicBezTo>
                        <a:cubicBezTo>
                          <a:pt x="1665" y="64"/>
                          <a:pt x="1656" y="50"/>
                          <a:pt x="1649" y="44"/>
                        </a:cubicBezTo>
                        <a:cubicBezTo>
                          <a:pt x="1642" y="39"/>
                          <a:pt x="1575" y="19"/>
                          <a:pt x="1552" y="16"/>
                        </a:cubicBezTo>
                        <a:cubicBezTo>
                          <a:pt x="1528" y="14"/>
                          <a:pt x="1512" y="2"/>
                          <a:pt x="1482" y="1"/>
                        </a:cubicBezTo>
                        <a:cubicBezTo>
                          <a:pt x="1452" y="0"/>
                          <a:pt x="1456" y="12"/>
                          <a:pt x="1456" y="12"/>
                        </a:cubicBezTo>
                        <a:cubicBezTo>
                          <a:pt x="1456" y="12"/>
                          <a:pt x="1439" y="9"/>
                          <a:pt x="1425" y="6"/>
                        </a:cubicBezTo>
                        <a:cubicBezTo>
                          <a:pt x="1411" y="4"/>
                          <a:pt x="1381" y="42"/>
                          <a:pt x="1374" y="56"/>
                        </a:cubicBezTo>
                        <a:cubicBezTo>
                          <a:pt x="1366" y="70"/>
                          <a:pt x="1396" y="152"/>
                          <a:pt x="1400" y="168"/>
                        </a:cubicBezTo>
                        <a:cubicBezTo>
                          <a:pt x="1403" y="184"/>
                          <a:pt x="1418" y="178"/>
                          <a:pt x="1425" y="187"/>
                        </a:cubicBezTo>
                        <a:cubicBezTo>
                          <a:pt x="1432" y="196"/>
                          <a:pt x="1432" y="208"/>
                          <a:pt x="1441" y="220"/>
                        </a:cubicBezTo>
                        <a:cubicBezTo>
                          <a:pt x="1450" y="233"/>
                          <a:pt x="1452" y="225"/>
                          <a:pt x="1458" y="225"/>
                        </a:cubicBezTo>
                        <a:cubicBezTo>
                          <a:pt x="1464" y="225"/>
                          <a:pt x="1462" y="231"/>
                          <a:pt x="1466" y="246"/>
                        </a:cubicBezTo>
                        <a:cubicBezTo>
                          <a:pt x="1470" y="262"/>
                          <a:pt x="1503" y="276"/>
                          <a:pt x="1503" y="276"/>
                        </a:cubicBezTo>
                        <a:cubicBezTo>
                          <a:pt x="1503" y="276"/>
                          <a:pt x="1494" y="299"/>
                          <a:pt x="1485" y="315"/>
                        </a:cubicBezTo>
                        <a:cubicBezTo>
                          <a:pt x="1476" y="331"/>
                          <a:pt x="1460" y="381"/>
                          <a:pt x="1457" y="384"/>
                        </a:cubicBezTo>
                        <a:cubicBezTo>
                          <a:pt x="1454" y="388"/>
                          <a:pt x="1454" y="392"/>
                          <a:pt x="1441" y="395"/>
                        </a:cubicBezTo>
                        <a:cubicBezTo>
                          <a:pt x="1428" y="398"/>
                          <a:pt x="1412" y="436"/>
                          <a:pt x="1412" y="436"/>
                        </a:cubicBezTo>
                        <a:cubicBezTo>
                          <a:pt x="1412" y="436"/>
                          <a:pt x="1384" y="448"/>
                          <a:pt x="1359" y="450"/>
                        </a:cubicBezTo>
                        <a:cubicBezTo>
                          <a:pt x="1334" y="451"/>
                          <a:pt x="1315" y="466"/>
                          <a:pt x="1308" y="471"/>
                        </a:cubicBezTo>
                        <a:cubicBezTo>
                          <a:pt x="1302" y="476"/>
                          <a:pt x="1257" y="476"/>
                          <a:pt x="1241" y="476"/>
                        </a:cubicBezTo>
                        <a:cubicBezTo>
                          <a:pt x="1225" y="476"/>
                          <a:pt x="1159" y="523"/>
                          <a:pt x="1152" y="523"/>
                        </a:cubicBezTo>
                        <a:cubicBezTo>
                          <a:pt x="1146" y="523"/>
                          <a:pt x="1115" y="534"/>
                          <a:pt x="1103" y="535"/>
                        </a:cubicBezTo>
                        <a:cubicBezTo>
                          <a:pt x="1091" y="536"/>
                          <a:pt x="1038" y="590"/>
                          <a:pt x="1036" y="592"/>
                        </a:cubicBezTo>
                        <a:cubicBezTo>
                          <a:pt x="1034" y="594"/>
                          <a:pt x="1022" y="596"/>
                          <a:pt x="1018" y="597"/>
                        </a:cubicBezTo>
                        <a:cubicBezTo>
                          <a:pt x="1014" y="598"/>
                          <a:pt x="983" y="624"/>
                          <a:pt x="976" y="630"/>
                        </a:cubicBezTo>
                        <a:cubicBezTo>
                          <a:pt x="968" y="636"/>
                          <a:pt x="960" y="636"/>
                          <a:pt x="934" y="655"/>
                        </a:cubicBezTo>
                        <a:cubicBezTo>
                          <a:pt x="908" y="674"/>
                          <a:pt x="923" y="718"/>
                          <a:pt x="923" y="720"/>
                        </a:cubicBezTo>
                        <a:cubicBezTo>
                          <a:pt x="923" y="722"/>
                          <a:pt x="949" y="762"/>
                          <a:pt x="953" y="772"/>
                        </a:cubicBezTo>
                        <a:cubicBezTo>
                          <a:pt x="957" y="782"/>
                          <a:pt x="968" y="855"/>
                          <a:pt x="966" y="870"/>
                        </a:cubicBezTo>
                        <a:cubicBezTo>
                          <a:pt x="964" y="884"/>
                          <a:pt x="955" y="900"/>
                          <a:pt x="944" y="908"/>
                        </a:cubicBezTo>
                        <a:cubicBezTo>
                          <a:pt x="932" y="917"/>
                          <a:pt x="581" y="938"/>
                          <a:pt x="569" y="936"/>
                        </a:cubicBezTo>
                        <a:cubicBezTo>
                          <a:pt x="557" y="935"/>
                          <a:pt x="522" y="967"/>
                          <a:pt x="500" y="979"/>
                        </a:cubicBezTo>
                        <a:cubicBezTo>
                          <a:pt x="478" y="991"/>
                          <a:pt x="393" y="973"/>
                          <a:pt x="393" y="973"/>
                        </a:cubicBezTo>
                        <a:cubicBezTo>
                          <a:pt x="352" y="992"/>
                          <a:pt x="352" y="992"/>
                          <a:pt x="352" y="992"/>
                        </a:cubicBezTo>
                        <a:cubicBezTo>
                          <a:pt x="352" y="992"/>
                          <a:pt x="306" y="1038"/>
                          <a:pt x="297" y="1044"/>
                        </a:cubicBezTo>
                        <a:cubicBezTo>
                          <a:pt x="288" y="1050"/>
                          <a:pt x="285" y="1057"/>
                          <a:pt x="281" y="1068"/>
                        </a:cubicBezTo>
                        <a:cubicBezTo>
                          <a:pt x="277" y="1080"/>
                          <a:pt x="233" y="1104"/>
                          <a:pt x="223" y="1111"/>
                        </a:cubicBezTo>
                        <a:cubicBezTo>
                          <a:pt x="213" y="1118"/>
                          <a:pt x="183" y="1117"/>
                          <a:pt x="183" y="1117"/>
                        </a:cubicBezTo>
                        <a:cubicBezTo>
                          <a:pt x="155" y="1143"/>
                          <a:pt x="155" y="1143"/>
                          <a:pt x="155" y="1143"/>
                        </a:cubicBezTo>
                        <a:cubicBezTo>
                          <a:pt x="106" y="1144"/>
                          <a:pt x="106" y="1144"/>
                          <a:pt x="106" y="1144"/>
                        </a:cubicBezTo>
                        <a:cubicBezTo>
                          <a:pt x="104" y="1171"/>
                          <a:pt x="101" y="1204"/>
                          <a:pt x="99" y="1213"/>
                        </a:cubicBezTo>
                        <a:cubicBezTo>
                          <a:pt x="96" y="1228"/>
                          <a:pt x="86" y="1246"/>
                          <a:pt x="71" y="1272"/>
                        </a:cubicBezTo>
                        <a:cubicBezTo>
                          <a:pt x="56" y="1298"/>
                          <a:pt x="50" y="1399"/>
                          <a:pt x="49" y="1412"/>
                        </a:cubicBezTo>
                        <a:cubicBezTo>
                          <a:pt x="48" y="1424"/>
                          <a:pt x="30" y="1468"/>
                          <a:pt x="15" y="1492"/>
                        </a:cubicBezTo>
                        <a:cubicBezTo>
                          <a:pt x="0" y="1516"/>
                          <a:pt x="24" y="1521"/>
                          <a:pt x="26" y="1534"/>
                        </a:cubicBezTo>
                        <a:cubicBezTo>
                          <a:pt x="29" y="1548"/>
                          <a:pt x="71" y="1564"/>
                          <a:pt x="80" y="1564"/>
                        </a:cubicBezTo>
                        <a:cubicBezTo>
                          <a:pt x="90" y="1564"/>
                          <a:pt x="101" y="1578"/>
                          <a:pt x="101" y="1578"/>
                        </a:cubicBezTo>
                        <a:cubicBezTo>
                          <a:pt x="101" y="1578"/>
                          <a:pt x="112" y="1556"/>
                          <a:pt x="113" y="1552"/>
                        </a:cubicBezTo>
                        <a:cubicBezTo>
                          <a:pt x="114" y="1548"/>
                          <a:pt x="130" y="1538"/>
                          <a:pt x="134" y="1538"/>
                        </a:cubicBezTo>
                        <a:cubicBezTo>
                          <a:pt x="137" y="1537"/>
                          <a:pt x="153" y="1503"/>
                          <a:pt x="164" y="1490"/>
                        </a:cubicBezTo>
                        <a:cubicBezTo>
                          <a:pt x="176" y="1476"/>
                          <a:pt x="196" y="1480"/>
                          <a:pt x="220" y="1473"/>
                        </a:cubicBezTo>
                        <a:cubicBezTo>
                          <a:pt x="244" y="1466"/>
                          <a:pt x="271" y="1462"/>
                          <a:pt x="271" y="1462"/>
                        </a:cubicBezTo>
                        <a:cubicBezTo>
                          <a:pt x="271" y="1462"/>
                          <a:pt x="334" y="1423"/>
                          <a:pt x="344" y="1421"/>
                        </a:cubicBezTo>
                        <a:cubicBezTo>
                          <a:pt x="355" y="1419"/>
                          <a:pt x="359" y="1410"/>
                          <a:pt x="368" y="1410"/>
                        </a:cubicBezTo>
                        <a:cubicBezTo>
                          <a:pt x="376" y="1410"/>
                          <a:pt x="373" y="1426"/>
                          <a:pt x="381" y="1435"/>
                        </a:cubicBezTo>
                        <a:cubicBezTo>
                          <a:pt x="389" y="1444"/>
                          <a:pt x="406" y="1432"/>
                          <a:pt x="412" y="1423"/>
                        </a:cubicBezTo>
                        <a:cubicBezTo>
                          <a:pt x="418" y="1414"/>
                          <a:pt x="426" y="1416"/>
                          <a:pt x="431" y="1415"/>
                        </a:cubicBezTo>
                        <a:cubicBezTo>
                          <a:pt x="436" y="1414"/>
                          <a:pt x="436" y="1431"/>
                          <a:pt x="436" y="1437"/>
                        </a:cubicBezTo>
                        <a:cubicBezTo>
                          <a:pt x="436" y="1443"/>
                          <a:pt x="438" y="1448"/>
                          <a:pt x="450" y="1451"/>
                        </a:cubicBezTo>
                        <a:cubicBezTo>
                          <a:pt x="461" y="1454"/>
                          <a:pt x="486" y="1428"/>
                          <a:pt x="506" y="1428"/>
                        </a:cubicBezTo>
                        <a:cubicBezTo>
                          <a:pt x="526" y="1428"/>
                          <a:pt x="534" y="1434"/>
                          <a:pt x="535" y="1440"/>
                        </a:cubicBezTo>
                        <a:cubicBezTo>
                          <a:pt x="536" y="1447"/>
                          <a:pt x="550" y="1464"/>
                          <a:pt x="561" y="1464"/>
                        </a:cubicBezTo>
                        <a:cubicBezTo>
                          <a:pt x="572" y="1464"/>
                          <a:pt x="587" y="1454"/>
                          <a:pt x="587" y="1454"/>
                        </a:cubicBezTo>
                        <a:cubicBezTo>
                          <a:pt x="587" y="1454"/>
                          <a:pt x="613" y="1465"/>
                          <a:pt x="618" y="1465"/>
                        </a:cubicBezTo>
                        <a:cubicBezTo>
                          <a:pt x="622" y="1465"/>
                          <a:pt x="654" y="1444"/>
                          <a:pt x="658" y="1444"/>
                        </a:cubicBezTo>
                        <a:cubicBezTo>
                          <a:pt x="662" y="1444"/>
                          <a:pt x="673" y="1439"/>
                          <a:pt x="677" y="1430"/>
                        </a:cubicBezTo>
                        <a:cubicBezTo>
                          <a:pt x="681" y="1422"/>
                          <a:pt x="672" y="1420"/>
                          <a:pt x="672" y="1411"/>
                        </a:cubicBezTo>
                        <a:cubicBezTo>
                          <a:pt x="671" y="1402"/>
                          <a:pt x="696" y="1403"/>
                          <a:pt x="709" y="1406"/>
                        </a:cubicBezTo>
                        <a:cubicBezTo>
                          <a:pt x="722" y="1410"/>
                          <a:pt x="730" y="1417"/>
                          <a:pt x="732" y="1421"/>
                        </a:cubicBezTo>
                        <a:cubicBezTo>
                          <a:pt x="735" y="1425"/>
                          <a:pt x="760" y="1410"/>
                          <a:pt x="760" y="1410"/>
                        </a:cubicBezTo>
                        <a:cubicBezTo>
                          <a:pt x="798" y="1400"/>
                          <a:pt x="798" y="1400"/>
                          <a:pt x="798" y="1400"/>
                        </a:cubicBezTo>
                        <a:cubicBezTo>
                          <a:pt x="798" y="1400"/>
                          <a:pt x="817" y="1416"/>
                          <a:pt x="826" y="1420"/>
                        </a:cubicBezTo>
                        <a:cubicBezTo>
                          <a:pt x="834" y="1425"/>
                          <a:pt x="836" y="1438"/>
                          <a:pt x="837" y="1454"/>
                        </a:cubicBezTo>
                        <a:cubicBezTo>
                          <a:pt x="838" y="1470"/>
                          <a:pt x="858" y="1483"/>
                          <a:pt x="858" y="1483"/>
                        </a:cubicBezTo>
                        <a:cubicBezTo>
                          <a:pt x="868" y="1461"/>
                          <a:pt x="868" y="1461"/>
                          <a:pt x="868" y="1461"/>
                        </a:cubicBezTo>
                        <a:cubicBezTo>
                          <a:pt x="893" y="1462"/>
                          <a:pt x="893" y="1462"/>
                          <a:pt x="893" y="1462"/>
                        </a:cubicBezTo>
                        <a:cubicBezTo>
                          <a:pt x="893" y="1462"/>
                          <a:pt x="909" y="1478"/>
                          <a:pt x="921" y="1486"/>
                        </a:cubicBezTo>
                        <a:cubicBezTo>
                          <a:pt x="933" y="1494"/>
                          <a:pt x="960" y="1530"/>
                          <a:pt x="962" y="1531"/>
                        </a:cubicBezTo>
                        <a:cubicBezTo>
                          <a:pt x="965" y="1532"/>
                          <a:pt x="1003" y="1496"/>
                          <a:pt x="1007" y="1496"/>
                        </a:cubicBezTo>
                        <a:cubicBezTo>
                          <a:pt x="1011" y="1496"/>
                          <a:pt x="1041" y="1506"/>
                          <a:pt x="1046" y="1506"/>
                        </a:cubicBezTo>
                        <a:cubicBezTo>
                          <a:pt x="1050" y="1507"/>
                          <a:pt x="1054" y="1493"/>
                          <a:pt x="1054" y="1493"/>
                        </a:cubicBezTo>
                        <a:cubicBezTo>
                          <a:pt x="1054" y="1493"/>
                          <a:pt x="1071" y="1506"/>
                          <a:pt x="1074" y="1506"/>
                        </a:cubicBezTo>
                        <a:cubicBezTo>
                          <a:pt x="1078" y="1507"/>
                          <a:pt x="1103" y="1495"/>
                          <a:pt x="1103" y="1495"/>
                        </a:cubicBezTo>
                        <a:cubicBezTo>
                          <a:pt x="1103" y="1495"/>
                          <a:pt x="1116" y="1507"/>
                          <a:pt x="1118" y="1508"/>
                        </a:cubicBezTo>
                        <a:cubicBezTo>
                          <a:pt x="1121" y="1508"/>
                          <a:pt x="1156" y="1479"/>
                          <a:pt x="1156" y="1479"/>
                        </a:cubicBezTo>
                        <a:cubicBezTo>
                          <a:pt x="1156" y="1479"/>
                          <a:pt x="1209" y="1484"/>
                          <a:pt x="1230" y="1490"/>
                        </a:cubicBezTo>
                        <a:cubicBezTo>
                          <a:pt x="1252" y="1496"/>
                          <a:pt x="1266" y="1509"/>
                          <a:pt x="1268" y="1512"/>
                        </a:cubicBezTo>
                        <a:cubicBezTo>
                          <a:pt x="1270" y="1514"/>
                          <a:pt x="1277" y="1534"/>
                          <a:pt x="1282" y="1541"/>
                        </a:cubicBezTo>
                        <a:cubicBezTo>
                          <a:pt x="1286" y="1548"/>
                          <a:pt x="1300" y="1574"/>
                          <a:pt x="1309" y="1600"/>
                        </a:cubicBezTo>
                        <a:cubicBezTo>
                          <a:pt x="1318" y="1627"/>
                          <a:pt x="1276" y="1674"/>
                          <a:pt x="1276" y="1674"/>
                        </a:cubicBezTo>
                        <a:cubicBezTo>
                          <a:pt x="1273" y="1710"/>
                          <a:pt x="1273" y="1710"/>
                          <a:pt x="1273" y="1710"/>
                        </a:cubicBezTo>
                        <a:cubicBezTo>
                          <a:pt x="1305" y="1740"/>
                          <a:pt x="1305" y="1740"/>
                          <a:pt x="1305" y="1740"/>
                        </a:cubicBezTo>
                        <a:cubicBezTo>
                          <a:pt x="1305" y="1740"/>
                          <a:pt x="1328" y="1740"/>
                          <a:pt x="1333" y="1740"/>
                        </a:cubicBezTo>
                        <a:cubicBezTo>
                          <a:pt x="1338" y="1740"/>
                          <a:pt x="1353" y="1751"/>
                          <a:pt x="1366" y="1756"/>
                        </a:cubicBezTo>
                        <a:cubicBezTo>
                          <a:pt x="1380" y="1762"/>
                          <a:pt x="1408" y="1848"/>
                          <a:pt x="1410" y="1856"/>
                        </a:cubicBezTo>
                        <a:cubicBezTo>
                          <a:pt x="1412" y="1864"/>
                          <a:pt x="1405" y="1906"/>
                          <a:pt x="1399" y="1934"/>
                        </a:cubicBezTo>
                        <a:cubicBezTo>
                          <a:pt x="1396" y="1948"/>
                          <a:pt x="1400" y="1967"/>
                          <a:pt x="1405" y="1984"/>
                        </a:cubicBezTo>
                        <a:cubicBezTo>
                          <a:pt x="1412" y="1983"/>
                          <a:pt x="1420" y="1981"/>
                          <a:pt x="1420" y="1981"/>
                        </a:cubicBezTo>
                        <a:cubicBezTo>
                          <a:pt x="1420" y="1981"/>
                          <a:pt x="1436" y="2007"/>
                          <a:pt x="1442" y="2026"/>
                        </a:cubicBezTo>
                        <a:cubicBezTo>
                          <a:pt x="1447" y="2044"/>
                          <a:pt x="1460" y="2037"/>
                          <a:pt x="1464" y="2044"/>
                        </a:cubicBezTo>
                        <a:cubicBezTo>
                          <a:pt x="1467" y="2050"/>
                          <a:pt x="1470" y="2054"/>
                          <a:pt x="1472" y="2056"/>
                        </a:cubicBezTo>
                        <a:cubicBezTo>
                          <a:pt x="1474" y="2058"/>
                          <a:pt x="1473" y="2090"/>
                          <a:pt x="1487" y="2093"/>
                        </a:cubicBezTo>
                        <a:cubicBezTo>
                          <a:pt x="1501" y="2096"/>
                          <a:pt x="1509" y="2110"/>
                          <a:pt x="1509" y="2112"/>
                        </a:cubicBezTo>
                        <a:cubicBezTo>
                          <a:pt x="1509" y="2115"/>
                          <a:pt x="1522" y="2138"/>
                          <a:pt x="1522" y="2138"/>
                        </a:cubicBezTo>
                        <a:cubicBezTo>
                          <a:pt x="1522" y="2138"/>
                          <a:pt x="1535" y="2154"/>
                          <a:pt x="1534" y="2169"/>
                        </a:cubicBezTo>
                        <a:cubicBezTo>
                          <a:pt x="1534" y="2184"/>
                          <a:pt x="1534" y="2196"/>
                          <a:pt x="1536" y="2196"/>
                        </a:cubicBezTo>
                        <a:cubicBezTo>
                          <a:pt x="1536" y="2196"/>
                          <a:pt x="1536" y="2196"/>
                          <a:pt x="1537" y="2196"/>
                        </a:cubicBezTo>
                        <a:cubicBezTo>
                          <a:pt x="1546" y="2197"/>
                          <a:pt x="1591" y="2197"/>
                          <a:pt x="1591" y="2197"/>
                        </a:cubicBezTo>
                        <a:cubicBezTo>
                          <a:pt x="1591" y="2197"/>
                          <a:pt x="1609" y="2166"/>
                          <a:pt x="1609" y="2164"/>
                        </a:cubicBezTo>
                        <a:cubicBezTo>
                          <a:pt x="1609" y="2162"/>
                          <a:pt x="1596" y="2142"/>
                          <a:pt x="1610" y="2134"/>
                        </a:cubicBezTo>
                        <a:cubicBezTo>
                          <a:pt x="1624" y="2125"/>
                          <a:pt x="1646" y="2112"/>
                          <a:pt x="1650" y="2107"/>
                        </a:cubicBezTo>
                        <a:cubicBezTo>
                          <a:pt x="1655" y="2102"/>
                          <a:pt x="1657" y="2091"/>
                          <a:pt x="1679" y="2081"/>
                        </a:cubicBezTo>
                        <a:cubicBezTo>
                          <a:pt x="1701" y="2071"/>
                          <a:pt x="1727" y="2064"/>
                          <a:pt x="1731" y="2060"/>
                        </a:cubicBezTo>
                        <a:cubicBezTo>
                          <a:pt x="1735" y="2056"/>
                          <a:pt x="1738" y="2050"/>
                          <a:pt x="1738" y="2050"/>
                        </a:cubicBezTo>
                        <a:cubicBezTo>
                          <a:pt x="1738" y="2050"/>
                          <a:pt x="1785" y="2068"/>
                          <a:pt x="1810" y="2070"/>
                        </a:cubicBezTo>
                        <a:cubicBezTo>
                          <a:pt x="1834" y="2072"/>
                          <a:pt x="1880" y="2079"/>
                          <a:pt x="1883" y="2073"/>
                        </a:cubicBezTo>
                        <a:cubicBezTo>
                          <a:pt x="1886" y="2067"/>
                          <a:pt x="1925" y="2062"/>
                          <a:pt x="1937" y="2056"/>
                        </a:cubicBezTo>
                        <a:cubicBezTo>
                          <a:pt x="1949" y="2050"/>
                          <a:pt x="1955" y="2040"/>
                          <a:pt x="1960" y="2040"/>
                        </a:cubicBezTo>
                        <a:cubicBezTo>
                          <a:pt x="1966" y="2040"/>
                          <a:pt x="1976" y="2050"/>
                          <a:pt x="1977" y="2045"/>
                        </a:cubicBezTo>
                        <a:cubicBezTo>
                          <a:pt x="1978" y="2040"/>
                          <a:pt x="1963" y="2030"/>
                          <a:pt x="1976" y="2024"/>
                        </a:cubicBezTo>
                        <a:cubicBezTo>
                          <a:pt x="1990" y="2018"/>
                          <a:pt x="2028" y="1999"/>
                          <a:pt x="2033" y="1986"/>
                        </a:cubicBezTo>
                        <a:cubicBezTo>
                          <a:pt x="2038" y="1974"/>
                          <a:pt x="2028" y="1952"/>
                          <a:pt x="2036" y="1948"/>
                        </a:cubicBezTo>
                        <a:cubicBezTo>
                          <a:pt x="2045" y="1943"/>
                          <a:pt x="2045" y="1943"/>
                          <a:pt x="2045" y="1943"/>
                        </a:cubicBezTo>
                        <a:cubicBezTo>
                          <a:pt x="2045" y="1943"/>
                          <a:pt x="2044" y="1897"/>
                          <a:pt x="2050" y="1882"/>
                        </a:cubicBezTo>
                        <a:cubicBezTo>
                          <a:pt x="2056" y="1866"/>
                          <a:pt x="2060" y="1845"/>
                          <a:pt x="2076" y="1838"/>
                        </a:cubicBezTo>
                        <a:cubicBezTo>
                          <a:pt x="2092" y="1830"/>
                          <a:pt x="2105" y="1827"/>
                          <a:pt x="2116" y="1820"/>
                        </a:cubicBezTo>
                        <a:cubicBezTo>
                          <a:pt x="2126" y="1812"/>
                          <a:pt x="2148" y="1802"/>
                          <a:pt x="2148" y="1802"/>
                        </a:cubicBezTo>
                        <a:cubicBezTo>
                          <a:pt x="2148" y="1802"/>
                          <a:pt x="2152" y="1782"/>
                          <a:pt x="2157" y="1778"/>
                        </a:cubicBezTo>
                        <a:cubicBezTo>
                          <a:pt x="2162" y="1775"/>
                          <a:pt x="2174" y="1782"/>
                          <a:pt x="2182" y="1770"/>
                        </a:cubicBezTo>
                        <a:cubicBezTo>
                          <a:pt x="2186" y="1766"/>
                          <a:pt x="2191" y="1758"/>
                          <a:pt x="2195" y="1751"/>
                        </a:cubicBezTo>
                        <a:cubicBezTo>
                          <a:pt x="2183" y="1748"/>
                          <a:pt x="2173" y="1744"/>
                          <a:pt x="2173" y="1739"/>
                        </a:cubicBezTo>
                        <a:cubicBezTo>
                          <a:pt x="2173" y="1726"/>
                          <a:pt x="2182" y="1688"/>
                          <a:pt x="2186" y="1672"/>
                        </a:cubicBezTo>
                        <a:cubicBezTo>
                          <a:pt x="2190" y="1656"/>
                          <a:pt x="2208" y="1663"/>
                          <a:pt x="2202" y="1636"/>
                        </a:cubicBezTo>
                        <a:cubicBezTo>
                          <a:pt x="2195" y="1608"/>
                          <a:pt x="2149" y="1554"/>
                          <a:pt x="2154" y="1544"/>
                        </a:cubicBezTo>
                        <a:cubicBezTo>
                          <a:pt x="2160" y="1533"/>
                          <a:pt x="2162" y="1507"/>
                          <a:pt x="2169" y="1496"/>
                        </a:cubicBezTo>
                        <a:cubicBezTo>
                          <a:pt x="2176" y="1484"/>
                          <a:pt x="2176" y="1423"/>
                          <a:pt x="2190" y="1412"/>
                        </a:cubicBezTo>
                        <a:cubicBezTo>
                          <a:pt x="2203" y="1400"/>
                          <a:pt x="2214" y="1375"/>
                          <a:pt x="2237" y="1371"/>
                        </a:cubicBezTo>
                        <a:cubicBezTo>
                          <a:pt x="2260" y="1367"/>
                          <a:pt x="2284" y="1357"/>
                          <a:pt x="2294" y="1369"/>
                        </a:cubicBezTo>
                        <a:cubicBezTo>
                          <a:pt x="2303" y="1381"/>
                          <a:pt x="2316" y="1392"/>
                          <a:pt x="2326" y="1389"/>
                        </a:cubicBezTo>
                        <a:cubicBezTo>
                          <a:pt x="2336" y="1386"/>
                          <a:pt x="2359" y="1350"/>
                          <a:pt x="2369" y="1344"/>
                        </a:cubicBezTo>
                        <a:cubicBezTo>
                          <a:pt x="2379" y="1337"/>
                          <a:pt x="2382" y="1341"/>
                          <a:pt x="2391" y="1333"/>
                        </a:cubicBezTo>
                        <a:cubicBezTo>
                          <a:pt x="2400" y="1325"/>
                          <a:pt x="2398" y="1283"/>
                          <a:pt x="2416" y="1284"/>
                        </a:cubicBezTo>
                        <a:cubicBezTo>
                          <a:pt x="2434" y="1284"/>
                          <a:pt x="2452" y="1278"/>
                          <a:pt x="2452" y="1281"/>
                        </a:cubicBezTo>
                        <a:cubicBezTo>
                          <a:pt x="2452" y="1284"/>
                          <a:pt x="2455" y="1291"/>
                          <a:pt x="2455" y="1291"/>
                        </a:cubicBezTo>
                        <a:cubicBezTo>
                          <a:pt x="2480" y="1274"/>
                          <a:pt x="2480" y="1274"/>
                          <a:pt x="2480" y="1274"/>
                        </a:cubicBezTo>
                        <a:cubicBezTo>
                          <a:pt x="2480" y="1274"/>
                          <a:pt x="2486" y="1253"/>
                          <a:pt x="2480" y="1244"/>
                        </a:cubicBezTo>
                        <a:cubicBezTo>
                          <a:pt x="2473" y="1234"/>
                          <a:pt x="2430" y="1208"/>
                          <a:pt x="2428" y="1200"/>
                        </a:cubicBezTo>
                        <a:cubicBezTo>
                          <a:pt x="2426" y="1193"/>
                          <a:pt x="2414" y="1188"/>
                          <a:pt x="2407" y="1186"/>
                        </a:cubicBezTo>
                        <a:cubicBezTo>
                          <a:pt x="2400" y="1183"/>
                          <a:pt x="2389" y="1172"/>
                          <a:pt x="2387" y="1166"/>
                        </a:cubicBezTo>
                        <a:cubicBezTo>
                          <a:pt x="2385" y="1161"/>
                          <a:pt x="2372" y="1167"/>
                          <a:pt x="2371" y="1154"/>
                        </a:cubicBezTo>
                        <a:cubicBezTo>
                          <a:pt x="2370" y="1140"/>
                          <a:pt x="2405" y="1119"/>
                          <a:pt x="2406" y="1106"/>
                        </a:cubicBezTo>
                        <a:cubicBezTo>
                          <a:pt x="2408" y="1094"/>
                          <a:pt x="2408" y="1083"/>
                          <a:pt x="2408" y="1083"/>
                        </a:cubicBezTo>
                        <a:cubicBezTo>
                          <a:pt x="2408" y="1083"/>
                          <a:pt x="2413" y="1085"/>
                          <a:pt x="2413" y="1080"/>
                        </a:cubicBezTo>
                        <a:cubicBezTo>
                          <a:pt x="2413" y="1076"/>
                          <a:pt x="2421" y="1040"/>
                          <a:pt x="2410" y="1015"/>
                        </a:cubicBezTo>
                        <a:cubicBezTo>
                          <a:pt x="2400" y="990"/>
                          <a:pt x="2386" y="964"/>
                          <a:pt x="2382" y="940"/>
                        </a:cubicBezTo>
                        <a:cubicBezTo>
                          <a:pt x="2379" y="915"/>
                          <a:pt x="2386" y="911"/>
                          <a:pt x="2372" y="888"/>
                        </a:cubicBezTo>
                        <a:cubicBezTo>
                          <a:pt x="2358" y="864"/>
                          <a:pt x="2337" y="862"/>
                          <a:pt x="2344" y="856"/>
                        </a:cubicBezTo>
                        <a:cubicBezTo>
                          <a:pt x="2350" y="849"/>
                          <a:pt x="2346" y="824"/>
                          <a:pt x="2343" y="820"/>
                        </a:cubicBezTo>
                        <a:cubicBezTo>
                          <a:pt x="2340" y="816"/>
                          <a:pt x="2330" y="806"/>
                          <a:pt x="2328" y="797"/>
                        </a:cubicBezTo>
                        <a:cubicBezTo>
                          <a:pt x="2326" y="788"/>
                          <a:pt x="2323" y="716"/>
                          <a:pt x="2323" y="714"/>
                        </a:cubicBezTo>
                        <a:cubicBezTo>
                          <a:pt x="2323" y="712"/>
                          <a:pt x="2302" y="571"/>
                          <a:pt x="2302" y="571"/>
                        </a:cubicBezTo>
                        <a:cubicBezTo>
                          <a:pt x="2302" y="571"/>
                          <a:pt x="2302" y="439"/>
                          <a:pt x="2308" y="432"/>
                        </a:cubicBezTo>
                        <a:cubicBezTo>
                          <a:pt x="2314" y="424"/>
                          <a:pt x="2307" y="304"/>
                          <a:pt x="2315" y="290"/>
                        </a:cubicBezTo>
                        <a:cubicBezTo>
                          <a:pt x="2318" y="284"/>
                          <a:pt x="2320" y="275"/>
                          <a:pt x="2321" y="267"/>
                        </a:cubicBezTo>
                        <a:cubicBezTo>
                          <a:pt x="2310" y="272"/>
                          <a:pt x="2303" y="274"/>
                          <a:pt x="2303" y="274"/>
                        </a:cubicBezTo>
                        <a:cubicBezTo>
                          <a:pt x="2186" y="272"/>
                          <a:pt x="2186" y="272"/>
                          <a:pt x="2186" y="272"/>
                        </a:cubicBezTo>
                        <a:cubicBezTo>
                          <a:pt x="2186" y="272"/>
                          <a:pt x="2168" y="240"/>
                          <a:pt x="2155" y="223"/>
                        </a:cubicBezTo>
                        <a:cubicBezTo>
                          <a:pt x="2142" y="206"/>
                          <a:pt x="2100" y="165"/>
                          <a:pt x="2100" y="165"/>
                        </a:cubicBezTo>
                        <a:cubicBezTo>
                          <a:pt x="2100" y="165"/>
                          <a:pt x="2094" y="152"/>
                          <a:pt x="2087" y="138"/>
                        </a:cubicBezTo>
                        <a:cubicBezTo>
                          <a:pt x="2080" y="124"/>
                          <a:pt x="2059" y="85"/>
                          <a:pt x="2050" y="65"/>
                        </a:cubicBezTo>
                        <a:cubicBezTo>
                          <a:pt x="2041" y="45"/>
                          <a:pt x="2021" y="23"/>
                          <a:pt x="2010" y="14"/>
                        </a:cubicBezTo>
                        <a:cubicBezTo>
                          <a:pt x="2008" y="13"/>
                          <a:pt x="2006" y="10"/>
                          <a:pt x="2003" y="6"/>
                        </a:cubicBezTo>
                        <a:cubicBezTo>
                          <a:pt x="1981" y="8"/>
                          <a:pt x="1959" y="8"/>
                          <a:pt x="1951" y="8"/>
                        </a:cubicBezTo>
                        <a:cubicBezTo>
                          <a:pt x="1932" y="8"/>
                          <a:pt x="1920" y="13"/>
                          <a:pt x="1904" y="22"/>
                        </a:cubicBezTo>
                        <a:close/>
                      </a:path>
                    </a:pathLst>
                  </a:custGeom>
                  <a:solidFill>
                    <a:srgbClr val="FF00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7" name="Freeform 548">
                    <a:extLst>
                      <a:ext uri="{FF2B5EF4-FFF2-40B4-BE49-F238E27FC236}">
                        <a16:creationId xmlns:a16="http://schemas.microsoft.com/office/drawing/2014/main" id="{7FFB11D6-D3E2-1653-FFCE-65F34C159A43}"/>
                      </a:ext>
                    </a:extLst>
                  </p:cNvPr>
                  <p:cNvSpPr>
                    <a:spLocks noChangeAspect="1"/>
                  </p:cNvSpPr>
                  <p:nvPr/>
                </p:nvSpPr>
                <p:spPr bwMode="auto">
                  <a:xfrm>
                    <a:off x="4892749" y="2281048"/>
                    <a:ext cx="897251" cy="657165"/>
                  </a:xfrm>
                  <a:custGeom>
                    <a:avLst/>
                    <a:gdLst>
                      <a:gd name="T0" fmla="*/ 188 w 2299"/>
                      <a:gd name="T1" fmla="*/ 591 h 1681"/>
                      <a:gd name="T2" fmla="*/ 260 w 2299"/>
                      <a:gd name="T3" fmla="*/ 638 h 1681"/>
                      <a:gd name="T4" fmla="*/ 378 w 2299"/>
                      <a:gd name="T5" fmla="*/ 692 h 1681"/>
                      <a:gd name="T6" fmla="*/ 477 w 2299"/>
                      <a:gd name="T7" fmla="*/ 751 h 1681"/>
                      <a:gd name="T8" fmla="*/ 553 w 2299"/>
                      <a:gd name="T9" fmla="*/ 677 h 1681"/>
                      <a:gd name="T10" fmla="*/ 604 w 2299"/>
                      <a:gd name="T11" fmla="*/ 709 h 1681"/>
                      <a:gd name="T12" fmla="*/ 574 w 2299"/>
                      <a:gd name="T13" fmla="*/ 796 h 1681"/>
                      <a:gd name="T14" fmla="*/ 583 w 2299"/>
                      <a:gd name="T15" fmla="*/ 933 h 1681"/>
                      <a:gd name="T16" fmla="*/ 573 w 2299"/>
                      <a:gd name="T17" fmla="*/ 1076 h 1681"/>
                      <a:gd name="T18" fmla="*/ 587 w 2299"/>
                      <a:gd name="T19" fmla="*/ 1178 h 1681"/>
                      <a:gd name="T20" fmla="*/ 521 w 2299"/>
                      <a:gd name="T21" fmla="*/ 1307 h 1681"/>
                      <a:gd name="T22" fmla="*/ 391 w 2299"/>
                      <a:gd name="T23" fmla="*/ 1397 h 1681"/>
                      <a:gd name="T24" fmla="*/ 390 w 2299"/>
                      <a:gd name="T25" fmla="*/ 1618 h 1681"/>
                      <a:gd name="T26" fmla="*/ 402 w 2299"/>
                      <a:gd name="T27" fmla="*/ 1681 h 1681"/>
                      <a:gd name="T28" fmla="*/ 479 w 2299"/>
                      <a:gd name="T29" fmla="*/ 1654 h 1681"/>
                      <a:gd name="T30" fmla="*/ 577 w 2299"/>
                      <a:gd name="T31" fmla="*/ 1605 h 1681"/>
                      <a:gd name="T32" fmla="*/ 648 w 2299"/>
                      <a:gd name="T33" fmla="*/ 1529 h 1681"/>
                      <a:gd name="T34" fmla="*/ 796 w 2299"/>
                      <a:gd name="T35" fmla="*/ 1516 h 1681"/>
                      <a:gd name="T36" fmla="*/ 1240 w 2299"/>
                      <a:gd name="T37" fmla="*/ 1445 h 1681"/>
                      <a:gd name="T38" fmla="*/ 1249 w 2299"/>
                      <a:gd name="T39" fmla="*/ 1309 h 1681"/>
                      <a:gd name="T40" fmla="*/ 1230 w 2299"/>
                      <a:gd name="T41" fmla="*/ 1192 h 1681"/>
                      <a:gd name="T42" fmla="*/ 1314 w 2299"/>
                      <a:gd name="T43" fmla="*/ 1134 h 1681"/>
                      <a:gd name="T44" fmla="*/ 1399 w 2299"/>
                      <a:gd name="T45" fmla="*/ 1072 h 1681"/>
                      <a:gd name="T46" fmla="*/ 1537 w 2299"/>
                      <a:gd name="T47" fmla="*/ 1013 h 1681"/>
                      <a:gd name="T48" fmla="*/ 1655 w 2299"/>
                      <a:gd name="T49" fmla="*/ 987 h 1681"/>
                      <a:gd name="T50" fmla="*/ 1737 w 2299"/>
                      <a:gd name="T51" fmla="*/ 932 h 1681"/>
                      <a:gd name="T52" fmla="*/ 1781 w 2299"/>
                      <a:gd name="T53" fmla="*/ 852 h 1681"/>
                      <a:gd name="T54" fmla="*/ 1762 w 2299"/>
                      <a:gd name="T55" fmla="*/ 783 h 1681"/>
                      <a:gd name="T56" fmla="*/ 1737 w 2299"/>
                      <a:gd name="T57" fmla="*/ 757 h 1681"/>
                      <a:gd name="T58" fmla="*/ 1696 w 2299"/>
                      <a:gd name="T59" fmla="*/ 705 h 1681"/>
                      <a:gd name="T60" fmla="*/ 1721 w 2299"/>
                      <a:gd name="T61" fmla="*/ 543 h 1681"/>
                      <a:gd name="T62" fmla="*/ 1778 w 2299"/>
                      <a:gd name="T63" fmla="*/ 538 h 1681"/>
                      <a:gd name="T64" fmla="*/ 1945 w 2299"/>
                      <a:gd name="T65" fmla="*/ 581 h 1681"/>
                      <a:gd name="T66" fmla="*/ 2018 w 2299"/>
                      <a:gd name="T67" fmla="*/ 606 h 1681"/>
                      <a:gd name="T68" fmla="*/ 2143 w 2299"/>
                      <a:gd name="T69" fmla="*/ 589 h 1681"/>
                      <a:gd name="T70" fmla="*/ 2247 w 2299"/>
                      <a:gd name="T71" fmla="*/ 545 h 1681"/>
                      <a:gd name="T72" fmla="*/ 2265 w 2299"/>
                      <a:gd name="T73" fmla="*/ 478 h 1681"/>
                      <a:gd name="T74" fmla="*/ 2216 w 2299"/>
                      <a:gd name="T75" fmla="*/ 435 h 1681"/>
                      <a:gd name="T76" fmla="*/ 2066 w 2299"/>
                      <a:gd name="T77" fmla="*/ 286 h 1681"/>
                      <a:gd name="T78" fmla="*/ 1901 w 2299"/>
                      <a:gd name="T79" fmla="*/ 199 h 1681"/>
                      <a:gd name="T80" fmla="*/ 1670 w 2299"/>
                      <a:gd name="T81" fmla="*/ 166 h 1681"/>
                      <a:gd name="T82" fmla="*/ 1257 w 2299"/>
                      <a:gd name="T83" fmla="*/ 0 h 1681"/>
                      <a:gd name="T84" fmla="*/ 1100 w 2299"/>
                      <a:gd name="T85" fmla="*/ 41 h 1681"/>
                      <a:gd name="T86" fmla="*/ 922 w 2299"/>
                      <a:gd name="T87" fmla="*/ 136 h 1681"/>
                      <a:gd name="T88" fmla="*/ 854 w 2299"/>
                      <a:gd name="T89" fmla="*/ 137 h 1681"/>
                      <a:gd name="T90" fmla="*/ 667 w 2299"/>
                      <a:gd name="T91" fmla="*/ 102 h 1681"/>
                      <a:gd name="T92" fmla="*/ 379 w 2299"/>
                      <a:gd name="T93" fmla="*/ 161 h 1681"/>
                      <a:gd name="T94" fmla="*/ 217 w 2299"/>
                      <a:gd name="T95" fmla="*/ 245 h 1681"/>
                      <a:gd name="T96" fmla="*/ 74 w 2299"/>
                      <a:gd name="T97" fmla="*/ 368 h 1681"/>
                      <a:gd name="T98" fmla="*/ 3 w 2299"/>
                      <a:gd name="T99" fmla="*/ 592 h 1681"/>
                      <a:gd name="T100" fmla="*/ 162 w 2299"/>
                      <a:gd name="T101" fmla="*/ 57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99" h="1681">
                        <a:moveTo>
                          <a:pt x="162" y="577"/>
                        </a:moveTo>
                        <a:cubicBezTo>
                          <a:pt x="162" y="575"/>
                          <a:pt x="176" y="583"/>
                          <a:pt x="188" y="591"/>
                        </a:cubicBezTo>
                        <a:cubicBezTo>
                          <a:pt x="200" y="598"/>
                          <a:pt x="216" y="617"/>
                          <a:pt x="232" y="618"/>
                        </a:cubicBezTo>
                        <a:cubicBezTo>
                          <a:pt x="248" y="619"/>
                          <a:pt x="250" y="625"/>
                          <a:pt x="260" y="638"/>
                        </a:cubicBezTo>
                        <a:cubicBezTo>
                          <a:pt x="269" y="651"/>
                          <a:pt x="298" y="679"/>
                          <a:pt x="298" y="679"/>
                        </a:cubicBezTo>
                        <a:cubicBezTo>
                          <a:pt x="298" y="679"/>
                          <a:pt x="360" y="692"/>
                          <a:pt x="378" y="692"/>
                        </a:cubicBezTo>
                        <a:cubicBezTo>
                          <a:pt x="395" y="692"/>
                          <a:pt x="411" y="715"/>
                          <a:pt x="430" y="719"/>
                        </a:cubicBezTo>
                        <a:cubicBezTo>
                          <a:pt x="448" y="723"/>
                          <a:pt x="469" y="751"/>
                          <a:pt x="477" y="751"/>
                        </a:cubicBezTo>
                        <a:cubicBezTo>
                          <a:pt x="485" y="751"/>
                          <a:pt x="500" y="749"/>
                          <a:pt x="514" y="739"/>
                        </a:cubicBezTo>
                        <a:cubicBezTo>
                          <a:pt x="527" y="728"/>
                          <a:pt x="542" y="686"/>
                          <a:pt x="553" y="677"/>
                        </a:cubicBezTo>
                        <a:cubicBezTo>
                          <a:pt x="564" y="669"/>
                          <a:pt x="576" y="670"/>
                          <a:pt x="580" y="670"/>
                        </a:cubicBezTo>
                        <a:cubicBezTo>
                          <a:pt x="583" y="670"/>
                          <a:pt x="600" y="690"/>
                          <a:pt x="604" y="709"/>
                        </a:cubicBezTo>
                        <a:cubicBezTo>
                          <a:pt x="608" y="727"/>
                          <a:pt x="588" y="735"/>
                          <a:pt x="574" y="751"/>
                        </a:cubicBezTo>
                        <a:cubicBezTo>
                          <a:pt x="559" y="766"/>
                          <a:pt x="576" y="793"/>
                          <a:pt x="574" y="796"/>
                        </a:cubicBezTo>
                        <a:cubicBezTo>
                          <a:pt x="572" y="799"/>
                          <a:pt x="548" y="835"/>
                          <a:pt x="538" y="865"/>
                        </a:cubicBezTo>
                        <a:cubicBezTo>
                          <a:pt x="528" y="896"/>
                          <a:pt x="580" y="929"/>
                          <a:pt x="583" y="933"/>
                        </a:cubicBezTo>
                        <a:cubicBezTo>
                          <a:pt x="586" y="937"/>
                          <a:pt x="591" y="995"/>
                          <a:pt x="594" y="1001"/>
                        </a:cubicBezTo>
                        <a:cubicBezTo>
                          <a:pt x="596" y="1008"/>
                          <a:pt x="590" y="1057"/>
                          <a:pt x="573" y="1076"/>
                        </a:cubicBezTo>
                        <a:cubicBezTo>
                          <a:pt x="556" y="1095"/>
                          <a:pt x="564" y="1136"/>
                          <a:pt x="564" y="1136"/>
                        </a:cubicBezTo>
                        <a:cubicBezTo>
                          <a:pt x="564" y="1136"/>
                          <a:pt x="586" y="1173"/>
                          <a:pt x="587" y="1178"/>
                        </a:cubicBezTo>
                        <a:cubicBezTo>
                          <a:pt x="588" y="1183"/>
                          <a:pt x="592" y="1325"/>
                          <a:pt x="583" y="1339"/>
                        </a:cubicBezTo>
                        <a:cubicBezTo>
                          <a:pt x="574" y="1354"/>
                          <a:pt x="536" y="1312"/>
                          <a:pt x="521" y="1307"/>
                        </a:cubicBezTo>
                        <a:cubicBezTo>
                          <a:pt x="506" y="1303"/>
                          <a:pt x="471" y="1328"/>
                          <a:pt x="454" y="1333"/>
                        </a:cubicBezTo>
                        <a:cubicBezTo>
                          <a:pt x="436" y="1339"/>
                          <a:pt x="393" y="1376"/>
                          <a:pt x="391" y="1397"/>
                        </a:cubicBezTo>
                        <a:cubicBezTo>
                          <a:pt x="389" y="1417"/>
                          <a:pt x="398" y="1447"/>
                          <a:pt x="400" y="1447"/>
                        </a:cubicBezTo>
                        <a:cubicBezTo>
                          <a:pt x="402" y="1448"/>
                          <a:pt x="389" y="1613"/>
                          <a:pt x="390" y="1618"/>
                        </a:cubicBezTo>
                        <a:cubicBezTo>
                          <a:pt x="390" y="1623"/>
                          <a:pt x="400" y="1636"/>
                          <a:pt x="403" y="1645"/>
                        </a:cubicBezTo>
                        <a:cubicBezTo>
                          <a:pt x="404" y="1648"/>
                          <a:pt x="404" y="1663"/>
                          <a:pt x="402" y="1681"/>
                        </a:cubicBezTo>
                        <a:cubicBezTo>
                          <a:pt x="451" y="1680"/>
                          <a:pt x="451" y="1680"/>
                          <a:pt x="451" y="1680"/>
                        </a:cubicBezTo>
                        <a:cubicBezTo>
                          <a:pt x="479" y="1654"/>
                          <a:pt x="479" y="1654"/>
                          <a:pt x="479" y="1654"/>
                        </a:cubicBezTo>
                        <a:cubicBezTo>
                          <a:pt x="479" y="1654"/>
                          <a:pt x="509" y="1655"/>
                          <a:pt x="519" y="1648"/>
                        </a:cubicBezTo>
                        <a:cubicBezTo>
                          <a:pt x="529" y="1641"/>
                          <a:pt x="573" y="1617"/>
                          <a:pt x="577" y="1605"/>
                        </a:cubicBezTo>
                        <a:cubicBezTo>
                          <a:pt x="581" y="1594"/>
                          <a:pt x="584" y="1587"/>
                          <a:pt x="593" y="1581"/>
                        </a:cubicBezTo>
                        <a:cubicBezTo>
                          <a:pt x="602" y="1575"/>
                          <a:pt x="648" y="1529"/>
                          <a:pt x="648" y="1529"/>
                        </a:cubicBezTo>
                        <a:cubicBezTo>
                          <a:pt x="689" y="1510"/>
                          <a:pt x="689" y="1510"/>
                          <a:pt x="689" y="1510"/>
                        </a:cubicBezTo>
                        <a:cubicBezTo>
                          <a:pt x="689" y="1510"/>
                          <a:pt x="774" y="1528"/>
                          <a:pt x="796" y="1516"/>
                        </a:cubicBezTo>
                        <a:cubicBezTo>
                          <a:pt x="818" y="1504"/>
                          <a:pt x="853" y="1472"/>
                          <a:pt x="865" y="1473"/>
                        </a:cubicBezTo>
                        <a:cubicBezTo>
                          <a:pt x="877" y="1475"/>
                          <a:pt x="1228" y="1454"/>
                          <a:pt x="1240" y="1445"/>
                        </a:cubicBezTo>
                        <a:cubicBezTo>
                          <a:pt x="1251" y="1437"/>
                          <a:pt x="1260" y="1421"/>
                          <a:pt x="1262" y="1407"/>
                        </a:cubicBezTo>
                        <a:cubicBezTo>
                          <a:pt x="1264" y="1392"/>
                          <a:pt x="1253" y="1319"/>
                          <a:pt x="1249" y="1309"/>
                        </a:cubicBezTo>
                        <a:cubicBezTo>
                          <a:pt x="1245" y="1299"/>
                          <a:pt x="1219" y="1259"/>
                          <a:pt x="1219" y="1257"/>
                        </a:cubicBezTo>
                        <a:cubicBezTo>
                          <a:pt x="1219" y="1255"/>
                          <a:pt x="1204" y="1211"/>
                          <a:pt x="1230" y="1192"/>
                        </a:cubicBezTo>
                        <a:cubicBezTo>
                          <a:pt x="1256" y="1173"/>
                          <a:pt x="1264" y="1173"/>
                          <a:pt x="1272" y="1167"/>
                        </a:cubicBezTo>
                        <a:cubicBezTo>
                          <a:pt x="1279" y="1161"/>
                          <a:pt x="1310" y="1135"/>
                          <a:pt x="1314" y="1134"/>
                        </a:cubicBezTo>
                        <a:cubicBezTo>
                          <a:pt x="1318" y="1133"/>
                          <a:pt x="1330" y="1131"/>
                          <a:pt x="1332" y="1129"/>
                        </a:cubicBezTo>
                        <a:cubicBezTo>
                          <a:pt x="1334" y="1127"/>
                          <a:pt x="1387" y="1073"/>
                          <a:pt x="1399" y="1072"/>
                        </a:cubicBezTo>
                        <a:cubicBezTo>
                          <a:pt x="1411" y="1071"/>
                          <a:pt x="1442" y="1060"/>
                          <a:pt x="1448" y="1060"/>
                        </a:cubicBezTo>
                        <a:cubicBezTo>
                          <a:pt x="1455" y="1060"/>
                          <a:pt x="1521" y="1013"/>
                          <a:pt x="1537" y="1013"/>
                        </a:cubicBezTo>
                        <a:cubicBezTo>
                          <a:pt x="1553" y="1013"/>
                          <a:pt x="1598" y="1013"/>
                          <a:pt x="1604" y="1008"/>
                        </a:cubicBezTo>
                        <a:cubicBezTo>
                          <a:pt x="1611" y="1003"/>
                          <a:pt x="1630" y="988"/>
                          <a:pt x="1655" y="987"/>
                        </a:cubicBezTo>
                        <a:cubicBezTo>
                          <a:pt x="1680" y="985"/>
                          <a:pt x="1708" y="973"/>
                          <a:pt x="1708" y="973"/>
                        </a:cubicBezTo>
                        <a:cubicBezTo>
                          <a:pt x="1708" y="973"/>
                          <a:pt x="1724" y="935"/>
                          <a:pt x="1737" y="932"/>
                        </a:cubicBezTo>
                        <a:cubicBezTo>
                          <a:pt x="1750" y="929"/>
                          <a:pt x="1750" y="925"/>
                          <a:pt x="1753" y="921"/>
                        </a:cubicBezTo>
                        <a:cubicBezTo>
                          <a:pt x="1756" y="918"/>
                          <a:pt x="1772" y="868"/>
                          <a:pt x="1781" y="852"/>
                        </a:cubicBezTo>
                        <a:cubicBezTo>
                          <a:pt x="1790" y="836"/>
                          <a:pt x="1799" y="813"/>
                          <a:pt x="1799" y="813"/>
                        </a:cubicBezTo>
                        <a:cubicBezTo>
                          <a:pt x="1799" y="813"/>
                          <a:pt x="1766" y="799"/>
                          <a:pt x="1762" y="783"/>
                        </a:cubicBezTo>
                        <a:cubicBezTo>
                          <a:pt x="1758" y="768"/>
                          <a:pt x="1760" y="762"/>
                          <a:pt x="1754" y="762"/>
                        </a:cubicBezTo>
                        <a:cubicBezTo>
                          <a:pt x="1748" y="762"/>
                          <a:pt x="1746" y="770"/>
                          <a:pt x="1737" y="757"/>
                        </a:cubicBezTo>
                        <a:cubicBezTo>
                          <a:pt x="1728" y="745"/>
                          <a:pt x="1728" y="733"/>
                          <a:pt x="1721" y="724"/>
                        </a:cubicBezTo>
                        <a:cubicBezTo>
                          <a:pt x="1714" y="715"/>
                          <a:pt x="1699" y="721"/>
                          <a:pt x="1696" y="705"/>
                        </a:cubicBezTo>
                        <a:cubicBezTo>
                          <a:pt x="1692" y="689"/>
                          <a:pt x="1662" y="607"/>
                          <a:pt x="1670" y="593"/>
                        </a:cubicBezTo>
                        <a:cubicBezTo>
                          <a:pt x="1677" y="579"/>
                          <a:pt x="1707" y="541"/>
                          <a:pt x="1721" y="543"/>
                        </a:cubicBezTo>
                        <a:cubicBezTo>
                          <a:pt x="1735" y="546"/>
                          <a:pt x="1752" y="549"/>
                          <a:pt x="1752" y="549"/>
                        </a:cubicBezTo>
                        <a:cubicBezTo>
                          <a:pt x="1752" y="549"/>
                          <a:pt x="1748" y="537"/>
                          <a:pt x="1778" y="538"/>
                        </a:cubicBezTo>
                        <a:cubicBezTo>
                          <a:pt x="1808" y="539"/>
                          <a:pt x="1824" y="551"/>
                          <a:pt x="1848" y="553"/>
                        </a:cubicBezTo>
                        <a:cubicBezTo>
                          <a:pt x="1871" y="556"/>
                          <a:pt x="1938" y="576"/>
                          <a:pt x="1945" y="581"/>
                        </a:cubicBezTo>
                        <a:cubicBezTo>
                          <a:pt x="1952" y="587"/>
                          <a:pt x="1961" y="601"/>
                          <a:pt x="1980" y="601"/>
                        </a:cubicBezTo>
                        <a:cubicBezTo>
                          <a:pt x="2000" y="601"/>
                          <a:pt x="2014" y="603"/>
                          <a:pt x="2018" y="606"/>
                        </a:cubicBezTo>
                        <a:cubicBezTo>
                          <a:pt x="2023" y="609"/>
                          <a:pt x="2064" y="629"/>
                          <a:pt x="2071" y="628"/>
                        </a:cubicBezTo>
                        <a:cubicBezTo>
                          <a:pt x="2078" y="627"/>
                          <a:pt x="2124" y="594"/>
                          <a:pt x="2143" y="589"/>
                        </a:cubicBezTo>
                        <a:cubicBezTo>
                          <a:pt x="2162" y="583"/>
                          <a:pt x="2184" y="567"/>
                          <a:pt x="2200" y="559"/>
                        </a:cubicBezTo>
                        <a:cubicBezTo>
                          <a:pt x="2216" y="550"/>
                          <a:pt x="2228" y="545"/>
                          <a:pt x="2247" y="545"/>
                        </a:cubicBezTo>
                        <a:cubicBezTo>
                          <a:pt x="2255" y="545"/>
                          <a:pt x="2277" y="545"/>
                          <a:pt x="2299" y="543"/>
                        </a:cubicBezTo>
                        <a:cubicBezTo>
                          <a:pt x="2287" y="526"/>
                          <a:pt x="2268" y="488"/>
                          <a:pt x="2265" y="478"/>
                        </a:cubicBezTo>
                        <a:cubicBezTo>
                          <a:pt x="2261" y="466"/>
                          <a:pt x="2257" y="463"/>
                          <a:pt x="2241" y="458"/>
                        </a:cubicBezTo>
                        <a:cubicBezTo>
                          <a:pt x="2225" y="453"/>
                          <a:pt x="2219" y="447"/>
                          <a:pt x="2216" y="435"/>
                        </a:cubicBezTo>
                        <a:cubicBezTo>
                          <a:pt x="2213" y="423"/>
                          <a:pt x="2099" y="318"/>
                          <a:pt x="2099" y="318"/>
                        </a:cubicBezTo>
                        <a:cubicBezTo>
                          <a:pt x="2099" y="318"/>
                          <a:pt x="2079" y="303"/>
                          <a:pt x="2066" y="286"/>
                        </a:cubicBezTo>
                        <a:cubicBezTo>
                          <a:pt x="2053" y="269"/>
                          <a:pt x="2031" y="255"/>
                          <a:pt x="2005" y="249"/>
                        </a:cubicBezTo>
                        <a:cubicBezTo>
                          <a:pt x="1979" y="243"/>
                          <a:pt x="1953" y="199"/>
                          <a:pt x="1901" y="199"/>
                        </a:cubicBezTo>
                        <a:cubicBezTo>
                          <a:pt x="1849" y="199"/>
                          <a:pt x="1826" y="226"/>
                          <a:pt x="1801" y="227"/>
                        </a:cubicBezTo>
                        <a:cubicBezTo>
                          <a:pt x="1776" y="228"/>
                          <a:pt x="1693" y="167"/>
                          <a:pt x="1670" y="166"/>
                        </a:cubicBezTo>
                        <a:cubicBezTo>
                          <a:pt x="1647" y="165"/>
                          <a:pt x="1557" y="128"/>
                          <a:pt x="1536" y="129"/>
                        </a:cubicBezTo>
                        <a:cubicBezTo>
                          <a:pt x="1515" y="130"/>
                          <a:pt x="1257" y="0"/>
                          <a:pt x="1257" y="0"/>
                        </a:cubicBezTo>
                        <a:cubicBezTo>
                          <a:pt x="1257" y="0"/>
                          <a:pt x="1213" y="13"/>
                          <a:pt x="1172" y="25"/>
                        </a:cubicBezTo>
                        <a:cubicBezTo>
                          <a:pt x="1131" y="37"/>
                          <a:pt x="1120" y="36"/>
                          <a:pt x="1100" y="41"/>
                        </a:cubicBezTo>
                        <a:cubicBezTo>
                          <a:pt x="1080" y="46"/>
                          <a:pt x="1029" y="139"/>
                          <a:pt x="1029" y="139"/>
                        </a:cubicBezTo>
                        <a:cubicBezTo>
                          <a:pt x="922" y="136"/>
                          <a:pt x="922" y="136"/>
                          <a:pt x="922" y="136"/>
                        </a:cubicBezTo>
                        <a:cubicBezTo>
                          <a:pt x="922" y="136"/>
                          <a:pt x="922" y="123"/>
                          <a:pt x="894" y="122"/>
                        </a:cubicBezTo>
                        <a:cubicBezTo>
                          <a:pt x="866" y="121"/>
                          <a:pt x="865" y="130"/>
                          <a:pt x="854" y="137"/>
                        </a:cubicBezTo>
                        <a:cubicBezTo>
                          <a:pt x="843" y="144"/>
                          <a:pt x="714" y="136"/>
                          <a:pt x="714" y="136"/>
                        </a:cubicBezTo>
                        <a:cubicBezTo>
                          <a:pt x="667" y="102"/>
                          <a:pt x="667" y="102"/>
                          <a:pt x="667" y="102"/>
                        </a:cubicBezTo>
                        <a:cubicBezTo>
                          <a:pt x="667" y="102"/>
                          <a:pt x="512" y="138"/>
                          <a:pt x="488" y="143"/>
                        </a:cubicBezTo>
                        <a:cubicBezTo>
                          <a:pt x="464" y="148"/>
                          <a:pt x="387" y="157"/>
                          <a:pt x="379" y="161"/>
                        </a:cubicBezTo>
                        <a:cubicBezTo>
                          <a:pt x="371" y="165"/>
                          <a:pt x="317" y="171"/>
                          <a:pt x="317" y="171"/>
                        </a:cubicBezTo>
                        <a:cubicBezTo>
                          <a:pt x="317" y="171"/>
                          <a:pt x="237" y="232"/>
                          <a:pt x="217" y="245"/>
                        </a:cubicBezTo>
                        <a:cubicBezTo>
                          <a:pt x="197" y="258"/>
                          <a:pt x="194" y="276"/>
                          <a:pt x="175" y="290"/>
                        </a:cubicBezTo>
                        <a:cubicBezTo>
                          <a:pt x="156" y="304"/>
                          <a:pt x="74" y="368"/>
                          <a:pt x="74" y="368"/>
                        </a:cubicBezTo>
                        <a:cubicBezTo>
                          <a:pt x="74" y="368"/>
                          <a:pt x="29" y="366"/>
                          <a:pt x="12" y="368"/>
                        </a:cubicBezTo>
                        <a:cubicBezTo>
                          <a:pt x="0" y="370"/>
                          <a:pt x="1" y="500"/>
                          <a:pt x="3" y="592"/>
                        </a:cubicBezTo>
                        <a:cubicBezTo>
                          <a:pt x="151" y="588"/>
                          <a:pt x="151" y="588"/>
                          <a:pt x="151" y="588"/>
                        </a:cubicBezTo>
                        <a:cubicBezTo>
                          <a:pt x="151" y="588"/>
                          <a:pt x="162" y="579"/>
                          <a:pt x="162" y="577"/>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Freeform 549">
                    <a:extLst>
                      <a:ext uri="{FF2B5EF4-FFF2-40B4-BE49-F238E27FC236}">
                        <a16:creationId xmlns:a16="http://schemas.microsoft.com/office/drawing/2014/main" id="{AAB3979C-5099-1572-CA4E-13ECC89D0B89}"/>
                      </a:ext>
                    </a:extLst>
                  </p:cNvPr>
                  <p:cNvSpPr>
                    <a:spLocks noChangeAspect="1"/>
                  </p:cNvSpPr>
                  <p:nvPr/>
                </p:nvSpPr>
                <p:spPr bwMode="auto">
                  <a:xfrm>
                    <a:off x="5847501" y="2473769"/>
                    <a:ext cx="730739" cy="788838"/>
                  </a:xfrm>
                  <a:custGeom>
                    <a:avLst/>
                    <a:gdLst>
                      <a:gd name="T0" fmla="*/ 174 w 1869"/>
                      <a:gd name="T1" fmla="*/ 758 h 2022"/>
                      <a:gd name="T2" fmla="*/ 195 w 1869"/>
                      <a:gd name="T3" fmla="*/ 900 h 2022"/>
                      <a:gd name="T4" fmla="*/ 261 w 1869"/>
                      <a:gd name="T5" fmla="*/ 1059 h 2022"/>
                      <a:gd name="T6" fmla="*/ 257 w 1869"/>
                      <a:gd name="T7" fmla="*/ 1150 h 2022"/>
                      <a:gd name="T8" fmla="*/ 258 w 1869"/>
                      <a:gd name="T9" fmla="*/ 1230 h 2022"/>
                      <a:gd name="T10" fmla="*/ 331 w 1869"/>
                      <a:gd name="T11" fmla="*/ 1318 h 2022"/>
                      <a:gd name="T12" fmla="*/ 267 w 1869"/>
                      <a:gd name="T13" fmla="*/ 1328 h 2022"/>
                      <a:gd name="T14" fmla="*/ 177 w 1869"/>
                      <a:gd name="T15" fmla="*/ 1433 h 2022"/>
                      <a:gd name="T16" fmla="*/ 41 w 1869"/>
                      <a:gd name="T17" fmla="*/ 1456 h 2022"/>
                      <a:gd name="T18" fmla="*/ 53 w 1869"/>
                      <a:gd name="T19" fmla="*/ 1680 h 2022"/>
                      <a:gd name="T20" fmla="*/ 46 w 1869"/>
                      <a:gd name="T21" fmla="*/ 1795 h 2022"/>
                      <a:gd name="T22" fmla="*/ 104 w 1869"/>
                      <a:gd name="T23" fmla="*/ 1880 h 2022"/>
                      <a:gd name="T24" fmla="*/ 213 w 1869"/>
                      <a:gd name="T25" fmla="*/ 1979 h 2022"/>
                      <a:gd name="T26" fmla="*/ 297 w 1869"/>
                      <a:gd name="T27" fmla="*/ 1881 h 2022"/>
                      <a:gd name="T28" fmla="*/ 490 w 1869"/>
                      <a:gd name="T29" fmla="*/ 1788 h 2022"/>
                      <a:gd name="T30" fmla="*/ 637 w 1869"/>
                      <a:gd name="T31" fmla="*/ 1864 h 2022"/>
                      <a:gd name="T32" fmla="*/ 688 w 1869"/>
                      <a:gd name="T33" fmla="*/ 1953 h 2022"/>
                      <a:gd name="T34" fmla="*/ 777 w 1869"/>
                      <a:gd name="T35" fmla="*/ 1874 h 2022"/>
                      <a:gd name="T36" fmla="*/ 794 w 1869"/>
                      <a:gd name="T37" fmla="*/ 1810 h 2022"/>
                      <a:gd name="T38" fmla="*/ 742 w 1869"/>
                      <a:gd name="T39" fmla="*/ 1759 h 2022"/>
                      <a:gd name="T40" fmla="*/ 746 w 1869"/>
                      <a:gd name="T41" fmla="*/ 1656 h 2022"/>
                      <a:gd name="T42" fmla="*/ 910 w 1869"/>
                      <a:gd name="T43" fmla="*/ 1578 h 2022"/>
                      <a:gd name="T44" fmla="*/ 881 w 1869"/>
                      <a:gd name="T45" fmla="*/ 1357 h 2022"/>
                      <a:gd name="T46" fmla="*/ 853 w 1869"/>
                      <a:gd name="T47" fmla="*/ 1203 h 2022"/>
                      <a:gd name="T48" fmla="*/ 883 w 1869"/>
                      <a:gd name="T49" fmla="*/ 961 h 2022"/>
                      <a:gd name="T50" fmla="*/ 1097 w 1869"/>
                      <a:gd name="T51" fmla="*/ 871 h 2022"/>
                      <a:gd name="T52" fmla="*/ 1165 w 1869"/>
                      <a:gd name="T53" fmla="*/ 765 h 2022"/>
                      <a:gd name="T54" fmla="*/ 1252 w 1869"/>
                      <a:gd name="T55" fmla="*/ 702 h 2022"/>
                      <a:gd name="T56" fmla="*/ 1145 w 1869"/>
                      <a:gd name="T57" fmla="*/ 508 h 2022"/>
                      <a:gd name="T58" fmla="*/ 1388 w 1869"/>
                      <a:gd name="T59" fmla="*/ 482 h 2022"/>
                      <a:gd name="T60" fmla="*/ 1495 w 1869"/>
                      <a:gd name="T61" fmla="*/ 496 h 2022"/>
                      <a:gd name="T62" fmla="*/ 1621 w 1869"/>
                      <a:gd name="T63" fmla="*/ 628 h 2022"/>
                      <a:gd name="T64" fmla="*/ 1821 w 1869"/>
                      <a:gd name="T65" fmla="*/ 584 h 2022"/>
                      <a:gd name="T66" fmla="*/ 1842 w 1869"/>
                      <a:gd name="T67" fmla="*/ 448 h 2022"/>
                      <a:gd name="T68" fmla="*/ 1771 w 1869"/>
                      <a:gd name="T69" fmla="*/ 427 h 2022"/>
                      <a:gd name="T70" fmla="*/ 1616 w 1869"/>
                      <a:gd name="T71" fmla="*/ 389 h 2022"/>
                      <a:gd name="T72" fmla="*/ 1519 w 1869"/>
                      <a:gd name="T73" fmla="*/ 286 h 2022"/>
                      <a:gd name="T74" fmla="*/ 1281 w 1869"/>
                      <a:gd name="T75" fmla="*/ 182 h 2022"/>
                      <a:gd name="T76" fmla="*/ 1137 w 1869"/>
                      <a:gd name="T77" fmla="*/ 78 h 2022"/>
                      <a:gd name="T78" fmla="*/ 730 w 1869"/>
                      <a:gd name="T79" fmla="*/ 73 h 2022"/>
                      <a:gd name="T80" fmla="*/ 469 w 1869"/>
                      <a:gd name="T81" fmla="*/ 218 h 2022"/>
                      <a:gd name="T82" fmla="*/ 258 w 1869"/>
                      <a:gd name="T83" fmla="*/ 272 h 2022"/>
                      <a:gd name="T84" fmla="*/ 159 w 1869"/>
                      <a:gd name="T85" fmla="*/ 476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9" h="2022">
                        <a:moveTo>
                          <a:pt x="159" y="476"/>
                        </a:moveTo>
                        <a:cubicBezTo>
                          <a:pt x="153" y="483"/>
                          <a:pt x="153" y="615"/>
                          <a:pt x="153" y="615"/>
                        </a:cubicBezTo>
                        <a:cubicBezTo>
                          <a:pt x="153" y="615"/>
                          <a:pt x="174" y="756"/>
                          <a:pt x="174" y="758"/>
                        </a:cubicBezTo>
                        <a:cubicBezTo>
                          <a:pt x="174" y="760"/>
                          <a:pt x="177" y="832"/>
                          <a:pt x="179" y="841"/>
                        </a:cubicBezTo>
                        <a:cubicBezTo>
                          <a:pt x="181" y="850"/>
                          <a:pt x="191" y="860"/>
                          <a:pt x="194" y="864"/>
                        </a:cubicBezTo>
                        <a:cubicBezTo>
                          <a:pt x="197" y="868"/>
                          <a:pt x="201" y="893"/>
                          <a:pt x="195" y="900"/>
                        </a:cubicBezTo>
                        <a:cubicBezTo>
                          <a:pt x="188" y="906"/>
                          <a:pt x="209" y="908"/>
                          <a:pt x="223" y="932"/>
                        </a:cubicBezTo>
                        <a:cubicBezTo>
                          <a:pt x="237" y="955"/>
                          <a:pt x="230" y="959"/>
                          <a:pt x="233" y="984"/>
                        </a:cubicBezTo>
                        <a:cubicBezTo>
                          <a:pt x="237" y="1008"/>
                          <a:pt x="251" y="1034"/>
                          <a:pt x="261" y="1059"/>
                        </a:cubicBezTo>
                        <a:cubicBezTo>
                          <a:pt x="272" y="1084"/>
                          <a:pt x="264" y="1120"/>
                          <a:pt x="264" y="1124"/>
                        </a:cubicBezTo>
                        <a:cubicBezTo>
                          <a:pt x="264" y="1129"/>
                          <a:pt x="259" y="1127"/>
                          <a:pt x="259" y="1127"/>
                        </a:cubicBezTo>
                        <a:cubicBezTo>
                          <a:pt x="259" y="1127"/>
                          <a:pt x="259" y="1138"/>
                          <a:pt x="257" y="1150"/>
                        </a:cubicBezTo>
                        <a:cubicBezTo>
                          <a:pt x="256" y="1163"/>
                          <a:pt x="221" y="1184"/>
                          <a:pt x="222" y="1198"/>
                        </a:cubicBezTo>
                        <a:cubicBezTo>
                          <a:pt x="223" y="1211"/>
                          <a:pt x="236" y="1205"/>
                          <a:pt x="238" y="1210"/>
                        </a:cubicBezTo>
                        <a:cubicBezTo>
                          <a:pt x="240" y="1216"/>
                          <a:pt x="251" y="1227"/>
                          <a:pt x="258" y="1230"/>
                        </a:cubicBezTo>
                        <a:cubicBezTo>
                          <a:pt x="265" y="1232"/>
                          <a:pt x="277" y="1237"/>
                          <a:pt x="279" y="1244"/>
                        </a:cubicBezTo>
                        <a:cubicBezTo>
                          <a:pt x="281" y="1252"/>
                          <a:pt x="324" y="1278"/>
                          <a:pt x="331" y="1288"/>
                        </a:cubicBezTo>
                        <a:cubicBezTo>
                          <a:pt x="337" y="1297"/>
                          <a:pt x="331" y="1318"/>
                          <a:pt x="331" y="1318"/>
                        </a:cubicBezTo>
                        <a:cubicBezTo>
                          <a:pt x="306" y="1335"/>
                          <a:pt x="306" y="1335"/>
                          <a:pt x="306" y="1335"/>
                        </a:cubicBezTo>
                        <a:cubicBezTo>
                          <a:pt x="306" y="1335"/>
                          <a:pt x="303" y="1328"/>
                          <a:pt x="303" y="1325"/>
                        </a:cubicBezTo>
                        <a:cubicBezTo>
                          <a:pt x="303" y="1322"/>
                          <a:pt x="285" y="1328"/>
                          <a:pt x="267" y="1328"/>
                        </a:cubicBezTo>
                        <a:cubicBezTo>
                          <a:pt x="249" y="1327"/>
                          <a:pt x="251" y="1369"/>
                          <a:pt x="242" y="1377"/>
                        </a:cubicBezTo>
                        <a:cubicBezTo>
                          <a:pt x="233" y="1385"/>
                          <a:pt x="230" y="1381"/>
                          <a:pt x="220" y="1388"/>
                        </a:cubicBezTo>
                        <a:cubicBezTo>
                          <a:pt x="210" y="1394"/>
                          <a:pt x="187" y="1430"/>
                          <a:pt x="177" y="1433"/>
                        </a:cubicBezTo>
                        <a:cubicBezTo>
                          <a:pt x="167" y="1436"/>
                          <a:pt x="154" y="1425"/>
                          <a:pt x="145" y="1413"/>
                        </a:cubicBezTo>
                        <a:cubicBezTo>
                          <a:pt x="135" y="1401"/>
                          <a:pt x="111" y="1411"/>
                          <a:pt x="88" y="1415"/>
                        </a:cubicBezTo>
                        <a:cubicBezTo>
                          <a:pt x="65" y="1419"/>
                          <a:pt x="54" y="1444"/>
                          <a:pt x="41" y="1456"/>
                        </a:cubicBezTo>
                        <a:cubicBezTo>
                          <a:pt x="27" y="1467"/>
                          <a:pt x="27" y="1528"/>
                          <a:pt x="20" y="1540"/>
                        </a:cubicBezTo>
                        <a:cubicBezTo>
                          <a:pt x="13" y="1551"/>
                          <a:pt x="11" y="1577"/>
                          <a:pt x="5" y="1588"/>
                        </a:cubicBezTo>
                        <a:cubicBezTo>
                          <a:pt x="0" y="1598"/>
                          <a:pt x="46" y="1652"/>
                          <a:pt x="53" y="1680"/>
                        </a:cubicBezTo>
                        <a:cubicBezTo>
                          <a:pt x="59" y="1707"/>
                          <a:pt x="41" y="1700"/>
                          <a:pt x="37" y="1716"/>
                        </a:cubicBezTo>
                        <a:cubicBezTo>
                          <a:pt x="33" y="1732"/>
                          <a:pt x="24" y="1770"/>
                          <a:pt x="24" y="1783"/>
                        </a:cubicBezTo>
                        <a:cubicBezTo>
                          <a:pt x="24" y="1788"/>
                          <a:pt x="34" y="1792"/>
                          <a:pt x="46" y="1795"/>
                        </a:cubicBezTo>
                        <a:cubicBezTo>
                          <a:pt x="68" y="1800"/>
                          <a:pt x="99" y="1802"/>
                          <a:pt x="101" y="1802"/>
                        </a:cubicBezTo>
                        <a:cubicBezTo>
                          <a:pt x="105" y="1802"/>
                          <a:pt x="119" y="1816"/>
                          <a:pt x="128" y="1841"/>
                        </a:cubicBezTo>
                        <a:cubicBezTo>
                          <a:pt x="137" y="1866"/>
                          <a:pt x="111" y="1874"/>
                          <a:pt x="104" y="1880"/>
                        </a:cubicBezTo>
                        <a:cubicBezTo>
                          <a:pt x="97" y="1885"/>
                          <a:pt x="106" y="1904"/>
                          <a:pt x="106" y="1924"/>
                        </a:cubicBezTo>
                        <a:cubicBezTo>
                          <a:pt x="106" y="1944"/>
                          <a:pt x="141" y="1941"/>
                          <a:pt x="157" y="1948"/>
                        </a:cubicBezTo>
                        <a:cubicBezTo>
                          <a:pt x="174" y="1954"/>
                          <a:pt x="198" y="1969"/>
                          <a:pt x="213" y="1979"/>
                        </a:cubicBezTo>
                        <a:cubicBezTo>
                          <a:pt x="229" y="1989"/>
                          <a:pt x="229" y="2002"/>
                          <a:pt x="245" y="2012"/>
                        </a:cubicBezTo>
                        <a:cubicBezTo>
                          <a:pt x="262" y="2022"/>
                          <a:pt x="285" y="1998"/>
                          <a:pt x="289" y="1996"/>
                        </a:cubicBezTo>
                        <a:cubicBezTo>
                          <a:pt x="293" y="1993"/>
                          <a:pt x="294" y="1882"/>
                          <a:pt x="297" y="1881"/>
                        </a:cubicBezTo>
                        <a:cubicBezTo>
                          <a:pt x="301" y="1880"/>
                          <a:pt x="415" y="1883"/>
                          <a:pt x="431" y="1875"/>
                        </a:cubicBezTo>
                        <a:cubicBezTo>
                          <a:pt x="447" y="1867"/>
                          <a:pt x="440" y="1830"/>
                          <a:pt x="446" y="1814"/>
                        </a:cubicBezTo>
                        <a:cubicBezTo>
                          <a:pt x="452" y="1798"/>
                          <a:pt x="490" y="1788"/>
                          <a:pt x="490" y="1788"/>
                        </a:cubicBezTo>
                        <a:cubicBezTo>
                          <a:pt x="490" y="1788"/>
                          <a:pt x="547" y="1787"/>
                          <a:pt x="551" y="1787"/>
                        </a:cubicBezTo>
                        <a:cubicBezTo>
                          <a:pt x="554" y="1787"/>
                          <a:pt x="591" y="1830"/>
                          <a:pt x="609" y="1837"/>
                        </a:cubicBezTo>
                        <a:cubicBezTo>
                          <a:pt x="626" y="1844"/>
                          <a:pt x="627" y="1842"/>
                          <a:pt x="637" y="1864"/>
                        </a:cubicBezTo>
                        <a:cubicBezTo>
                          <a:pt x="646" y="1885"/>
                          <a:pt x="649" y="1869"/>
                          <a:pt x="655" y="1872"/>
                        </a:cubicBezTo>
                        <a:cubicBezTo>
                          <a:pt x="660" y="1874"/>
                          <a:pt x="658" y="1928"/>
                          <a:pt x="651" y="1938"/>
                        </a:cubicBezTo>
                        <a:cubicBezTo>
                          <a:pt x="643" y="1948"/>
                          <a:pt x="669" y="1948"/>
                          <a:pt x="688" y="1953"/>
                        </a:cubicBezTo>
                        <a:cubicBezTo>
                          <a:pt x="707" y="1958"/>
                          <a:pt x="713" y="1924"/>
                          <a:pt x="725" y="1924"/>
                        </a:cubicBezTo>
                        <a:cubicBezTo>
                          <a:pt x="736" y="1924"/>
                          <a:pt x="739" y="1902"/>
                          <a:pt x="743" y="1899"/>
                        </a:cubicBezTo>
                        <a:cubicBezTo>
                          <a:pt x="748" y="1896"/>
                          <a:pt x="770" y="1878"/>
                          <a:pt x="777" y="1874"/>
                        </a:cubicBezTo>
                        <a:cubicBezTo>
                          <a:pt x="785" y="1869"/>
                          <a:pt x="833" y="1840"/>
                          <a:pt x="852" y="1821"/>
                        </a:cubicBezTo>
                        <a:cubicBezTo>
                          <a:pt x="852" y="1821"/>
                          <a:pt x="852" y="1821"/>
                          <a:pt x="852" y="1821"/>
                        </a:cubicBezTo>
                        <a:cubicBezTo>
                          <a:pt x="828" y="1817"/>
                          <a:pt x="802" y="1812"/>
                          <a:pt x="794" y="1810"/>
                        </a:cubicBezTo>
                        <a:cubicBezTo>
                          <a:pt x="779" y="1807"/>
                          <a:pt x="768" y="1804"/>
                          <a:pt x="768" y="1798"/>
                        </a:cubicBezTo>
                        <a:cubicBezTo>
                          <a:pt x="768" y="1792"/>
                          <a:pt x="770" y="1775"/>
                          <a:pt x="762" y="1769"/>
                        </a:cubicBezTo>
                        <a:cubicBezTo>
                          <a:pt x="754" y="1763"/>
                          <a:pt x="743" y="1771"/>
                          <a:pt x="742" y="1759"/>
                        </a:cubicBezTo>
                        <a:cubicBezTo>
                          <a:pt x="741" y="1747"/>
                          <a:pt x="748" y="1740"/>
                          <a:pt x="738" y="1731"/>
                        </a:cubicBezTo>
                        <a:cubicBezTo>
                          <a:pt x="728" y="1722"/>
                          <a:pt x="710" y="1680"/>
                          <a:pt x="710" y="1680"/>
                        </a:cubicBezTo>
                        <a:cubicBezTo>
                          <a:pt x="710" y="1680"/>
                          <a:pt x="739" y="1663"/>
                          <a:pt x="746" y="1656"/>
                        </a:cubicBezTo>
                        <a:cubicBezTo>
                          <a:pt x="753" y="1649"/>
                          <a:pt x="744" y="1621"/>
                          <a:pt x="766" y="1614"/>
                        </a:cubicBezTo>
                        <a:cubicBezTo>
                          <a:pt x="788" y="1607"/>
                          <a:pt x="817" y="1592"/>
                          <a:pt x="830" y="1592"/>
                        </a:cubicBezTo>
                        <a:cubicBezTo>
                          <a:pt x="843" y="1592"/>
                          <a:pt x="901" y="1597"/>
                          <a:pt x="910" y="1578"/>
                        </a:cubicBezTo>
                        <a:cubicBezTo>
                          <a:pt x="919" y="1559"/>
                          <a:pt x="924" y="1543"/>
                          <a:pt x="920" y="1527"/>
                        </a:cubicBezTo>
                        <a:cubicBezTo>
                          <a:pt x="916" y="1511"/>
                          <a:pt x="891" y="1472"/>
                          <a:pt x="889" y="1456"/>
                        </a:cubicBezTo>
                        <a:cubicBezTo>
                          <a:pt x="887" y="1440"/>
                          <a:pt x="897" y="1368"/>
                          <a:pt x="881" y="1357"/>
                        </a:cubicBezTo>
                        <a:cubicBezTo>
                          <a:pt x="865" y="1346"/>
                          <a:pt x="864" y="1357"/>
                          <a:pt x="857" y="1342"/>
                        </a:cubicBezTo>
                        <a:cubicBezTo>
                          <a:pt x="850" y="1327"/>
                          <a:pt x="845" y="1322"/>
                          <a:pt x="845" y="1319"/>
                        </a:cubicBezTo>
                        <a:cubicBezTo>
                          <a:pt x="845" y="1316"/>
                          <a:pt x="853" y="1203"/>
                          <a:pt x="853" y="1203"/>
                        </a:cubicBezTo>
                        <a:cubicBezTo>
                          <a:pt x="853" y="1203"/>
                          <a:pt x="831" y="1104"/>
                          <a:pt x="831" y="1093"/>
                        </a:cubicBezTo>
                        <a:cubicBezTo>
                          <a:pt x="831" y="1082"/>
                          <a:pt x="833" y="1018"/>
                          <a:pt x="834" y="1012"/>
                        </a:cubicBezTo>
                        <a:cubicBezTo>
                          <a:pt x="835" y="1006"/>
                          <a:pt x="883" y="961"/>
                          <a:pt x="883" y="961"/>
                        </a:cubicBezTo>
                        <a:cubicBezTo>
                          <a:pt x="883" y="961"/>
                          <a:pt x="939" y="938"/>
                          <a:pt x="948" y="933"/>
                        </a:cubicBezTo>
                        <a:cubicBezTo>
                          <a:pt x="957" y="928"/>
                          <a:pt x="998" y="918"/>
                          <a:pt x="1017" y="915"/>
                        </a:cubicBezTo>
                        <a:cubicBezTo>
                          <a:pt x="1036" y="912"/>
                          <a:pt x="1097" y="871"/>
                          <a:pt x="1097" y="871"/>
                        </a:cubicBezTo>
                        <a:cubicBezTo>
                          <a:pt x="1097" y="871"/>
                          <a:pt x="1116" y="880"/>
                          <a:pt x="1127" y="865"/>
                        </a:cubicBezTo>
                        <a:cubicBezTo>
                          <a:pt x="1138" y="850"/>
                          <a:pt x="1159" y="829"/>
                          <a:pt x="1160" y="811"/>
                        </a:cubicBezTo>
                        <a:cubicBezTo>
                          <a:pt x="1161" y="793"/>
                          <a:pt x="1152" y="778"/>
                          <a:pt x="1165" y="765"/>
                        </a:cubicBezTo>
                        <a:cubicBezTo>
                          <a:pt x="1178" y="752"/>
                          <a:pt x="1222" y="721"/>
                          <a:pt x="1226" y="715"/>
                        </a:cubicBezTo>
                        <a:cubicBezTo>
                          <a:pt x="1230" y="710"/>
                          <a:pt x="1244" y="704"/>
                          <a:pt x="1252" y="706"/>
                        </a:cubicBezTo>
                        <a:cubicBezTo>
                          <a:pt x="1252" y="704"/>
                          <a:pt x="1252" y="702"/>
                          <a:pt x="1252" y="702"/>
                        </a:cubicBezTo>
                        <a:cubicBezTo>
                          <a:pt x="1253" y="698"/>
                          <a:pt x="1227" y="696"/>
                          <a:pt x="1199" y="694"/>
                        </a:cubicBezTo>
                        <a:cubicBezTo>
                          <a:pt x="1171" y="693"/>
                          <a:pt x="1146" y="641"/>
                          <a:pt x="1143" y="630"/>
                        </a:cubicBezTo>
                        <a:cubicBezTo>
                          <a:pt x="1139" y="620"/>
                          <a:pt x="1145" y="528"/>
                          <a:pt x="1145" y="508"/>
                        </a:cubicBezTo>
                        <a:cubicBezTo>
                          <a:pt x="1145" y="488"/>
                          <a:pt x="1171" y="478"/>
                          <a:pt x="1199" y="470"/>
                        </a:cubicBezTo>
                        <a:cubicBezTo>
                          <a:pt x="1227" y="461"/>
                          <a:pt x="1300" y="487"/>
                          <a:pt x="1332" y="495"/>
                        </a:cubicBezTo>
                        <a:cubicBezTo>
                          <a:pt x="1364" y="503"/>
                          <a:pt x="1367" y="483"/>
                          <a:pt x="1388" y="482"/>
                        </a:cubicBezTo>
                        <a:cubicBezTo>
                          <a:pt x="1409" y="482"/>
                          <a:pt x="1398" y="480"/>
                          <a:pt x="1413" y="472"/>
                        </a:cubicBezTo>
                        <a:cubicBezTo>
                          <a:pt x="1427" y="464"/>
                          <a:pt x="1458" y="466"/>
                          <a:pt x="1461" y="466"/>
                        </a:cubicBezTo>
                        <a:cubicBezTo>
                          <a:pt x="1465" y="466"/>
                          <a:pt x="1484" y="478"/>
                          <a:pt x="1495" y="496"/>
                        </a:cubicBezTo>
                        <a:cubicBezTo>
                          <a:pt x="1505" y="514"/>
                          <a:pt x="1512" y="532"/>
                          <a:pt x="1516" y="542"/>
                        </a:cubicBezTo>
                        <a:cubicBezTo>
                          <a:pt x="1520" y="551"/>
                          <a:pt x="1549" y="557"/>
                          <a:pt x="1560" y="578"/>
                        </a:cubicBezTo>
                        <a:cubicBezTo>
                          <a:pt x="1571" y="600"/>
                          <a:pt x="1621" y="628"/>
                          <a:pt x="1621" y="628"/>
                        </a:cubicBezTo>
                        <a:cubicBezTo>
                          <a:pt x="1675" y="640"/>
                          <a:pt x="1675" y="640"/>
                          <a:pt x="1675" y="640"/>
                        </a:cubicBezTo>
                        <a:cubicBezTo>
                          <a:pt x="1675" y="640"/>
                          <a:pt x="1765" y="622"/>
                          <a:pt x="1769" y="618"/>
                        </a:cubicBezTo>
                        <a:cubicBezTo>
                          <a:pt x="1773" y="615"/>
                          <a:pt x="1817" y="585"/>
                          <a:pt x="1821" y="584"/>
                        </a:cubicBezTo>
                        <a:cubicBezTo>
                          <a:pt x="1825" y="582"/>
                          <a:pt x="1835" y="569"/>
                          <a:pt x="1837" y="553"/>
                        </a:cubicBezTo>
                        <a:cubicBezTo>
                          <a:pt x="1839" y="537"/>
                          <a:pt x="1869" y="510"/>
                          <a:pt x="1869" y="510"/>
                        </a:cubicBezTo>
                        <a:cubicBezTo>
                          <a:pt x="1869" y="510"/>
                          <a:pt x="1854" y="472"/>
                          <a:pt x="1842" y="448"/>
                        </a:cubicBezTo>
                        <a:cubicBezTo>
                          <a:pt x="1839" y="446"/>
                          <a:pt x="1839" y="446"/>
                          <a:pt x="1839" y="446"/>
                        </a:cubicBezTo>
                        <a:cubicBezTo>
                          <a:pt x="1796" y="442"/>
                          <a:pt x="1796" y="442"/>
                          <a:pt x="1796" y="442"/>
                        </a:cubicBezTo>
                        <a:cubicBezTo>
                          <a:pt x="1796" y="442"/>
                          <a:pt x="1784" y="435"/>
                          <a:pt x="1771" y="427"/>
                        </a:cubicBezTo>
                        <a:cubicBezTo>
                          <a:pt x="1758" y="419"/>
                          <a:pt x="1727" y="420"/>
                          <a:pt x="1723" y="419"/>
                        </a:cubicBezTo>
                        <a:cubicBezTo>
                          <a:pt x="1719" y="418"/>
                          <a:pt x="1720" y="415"/>
                          <a:pt x="1702" y="406"/>
                        </a:cubicBezTo>
                        <a:cubicBezTo>
                          <a:pt x="1684" y="397"/>
                          <a:pt x="1616" y="389"/>
                          <a:pt x="1616" y="389"/>
                        </a:cubicBezTo>
                        <a:cubicBezTo>
                          <a:pt x="1568" y="365"/>
                          <a:pt x="1568" y="365"/>
                          <a:pt x="1568" y="365"/>
                        </a:cubicBezTo>
                        <a:cubicBezTo>
                          <a:pt x="1565" y="347"/>
                          <a:pt x="1565" y="347"/>
                          <a:pt x="1565" y="347"/>
                        </a:cubicBezTo>
                        <a:cubicBezTo>
                          <a:pt x="1565" y="347"/>
                          <a:pt x="1540" y="312"/>
                          <a:pt x="1519" y="286"/>
                        </a:cubicBezTo>
                        <a:cubicBezTo>
                          <a:pt x="1498" y="260"/>
                          <a:pt x="1435" y="249"/>
                          <a:pt x="1435" y="249"/>
                        </a:cubicBezTo>
                        <a:cubicBezTo>
                          <a:pt x="1435" y="249"/>
                          <a:pt x="1391" y="259"/>
                          <a:pt x="1365" y="256"/>
                        </a:cubicBezTo>
                        <a:cubicBezTo>
                          <a:pt x="1339" y="253"/>
                          <a:pt x="1293" y="208"/>
                          <a:pt x="1281" y="182"/>
                        </a:cubicBezTo>
                        <a:cubicBezTo>
                          <a:pt x="1269" y="156"/>
                          <a:pt x="1220" y="119"/>
                          <a:pt x="1220" y="119"/>
                        </a:cubicBezTo>
                        <a:cubicBezTo>
                          <a:pt x="1198" y="119"/>
                          <a:pt x="1198" y="119"/>
                          <a:pt x="1198" y="119"/>
                        </a:cubicBezTo>
                        <a:cubicBezTo>
                          <a:pt x="1198" y="119"/>
                          <a:pt x="1178" y="113"/>
                          <a:pt x="1137" y="78"/>
                        </a:cubicBezTo>
                        <a:cubicBezTo>
                          <a:pt x="1096" y="43"/>
                          <a:pt x="1070" y="40"/>
                          <a:pt x="1036" y="36"/>
                        </a:cubicBezTo>
                        <a:cubicBezTo>
                          <a:pt x="1002" y="32"/>
                          <a:pt x="842" y="0"/>
                          <a:pt x="842" y="0"/>
                        </a:cubicBezTo>
                        <a:cubicBezTo>
                          <a:pt x="842" y="0"/>
                          <a:pt x="757" y="54"/>
                          <a:pt x="730" y="73"/>
                        </a:cubicBezTo>
                        <a:cubicBezTo>
                          <a:pt x="703" y="92"/>
                          <a:pt x="601" y="154"/>
                          <a:pt x="601" y="154"/>
                        </a:cubicBezTo>
                        <a:cubicBezTo>
                          <a:pt x="601" y="154"/>
                          <a:pt x="571" y="167"/>
                          <a:pt x="562" y="169"/>
                        </a:cubicBezTo>
                        <a:cubicBezTo>
                          <a:pt x="553" y="171"/>
                          <a:pt x="469" y="218"/>
                          <a:pt x="469" y="218"/>
                        </a:cubicBezTo>
                        <a:cubicBezTo>
                          <a:pt x="352" y="213"/>
                          <a:pt x="352" y="213"/>
                          <a:pt x="352" y="213"/>
                        </a:cubicBezTo>
                        <a:cubicBezTo>
                          <a:pt x="325" y="203"/>
                          <a:pt x="325" y="203"/>
                          <a:pt x="325" y="203"/>
                        </a:cubicBezTo>
                        <a:cubicBezTo>
                          <a:pt x="325" y="203"/>
                          <a:pt x="279" y="260"/>
                          <a:pt x="258" y="272"/>
                        </a:cubicBezTo>
                        <a:cubicBezTo>
                          <a:pt x="243" y="281"/>
                          <a:pt x="197" y="300"/>
                          <a:pt x="172" y="311"/>
                        </a:cubicBezTo>
                        <a:cubicBezTo>
                          <a:pt x="171" y="319"/>
                          <a:pt x="169" y="328"/>
                          <a:pt x="166" y="334"/>
                        </a:cubicBezTo>
                        <a:cubicBezTo>
                          <a:pt x="158" y="348"/>
                          <a:pt x="165" y="468"/>
                          <a:pt x="159" y="476"/>
                        </a:cubicBezTo>
                        <a:close/>
                      </a:path>
                    </a:pathLst>
                  </a:custGeom>
                  <a:solidFill>
                    <a:srgbClr val="FF0000"/>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0000"/>
                      </a:solidFill>
                      <a:effectLst/>
                      <a:uLnTx/>
                      <a:uFillTx/>
                      <a:latin typeface="Calibri"/>
                      <a:ea typeface="+mn-ea"/>
                      <a:cs typeface="+mn-cs"/>
                    </a:endParaRPr>
                  </a:p>
                </p:txBody>
              </p:sp>
              <p:sp>
                <p:nvSpPr>
                  <p:cNvPr id="89" name="Freeform 550">
                    <a:extLst>
                      <a:ext uri="{FF2B5EF4-FFF2-40B4-BE49-F238E27FC236}">
                        <a16:creationId xmlns:a16="http://schemas.microsoft.com/office/drawing/2014/main" id="{C91A50A4-B61F-3597-8D10-85E293127BB2}"/>
                      </a:ext>
                    </a:extLst>
                  </p:cNvPr>
                  <p:cNvSpPr>
                    <a:spLocks noChangeAspect="1"/>
                  </p:cNvSpPr>
                  <p:nvPr/>
                </p:nvSpPr>
                <p:spPr bwMode="auto">
                  <a:xfrm>
                    <a:off x="4980937" y="4425974"/>
                    <a:ext cx="592977" cy="666741"/>
                  </a:xfrm>
                  <a:custGeom>
                    <a:avLst/>
                    <a:gdLst>
                      <a:gd name="T0" fmla="*/ 618 w 1514"/>
                      <a:gd name="T1" fmla="*/ 1606 h 1706"/>
                      <a:gd name="T2" fmla="*/ 655 w 1514"/>
                      <a:gd name="T3" fmla="*/ 1497 h 1706"/>
                      <a:gd name="T4" fmla="*/ 695 w 1514"/>
                      <a:gd name="T5" fmla="*/ 1460 h 1706"/>
                      <a:gd name="T6" fmla="*/ 628 w 1514"/>
                      <a:gd name="T7" fmla="*/ 1414 h 1706"/>
                      <a:gd name="T8" fmla="*/ 593 w 1514"/>
                      <a:gd name="T9" fmla="*/ 1357 h 1706"/>
                      <a:gd name="T10" fmla="*/ 646 w 1514"/>
                      <a:gd name="T11" fmla="*/ 1281 h 1706"/>
                      <a:gd name="T12" fmla="*/ 674 w 1514"/>
                      <a:gd name="T13" fmla="*/ 1211 h 1706"/>
                      <a:gd name="T14" fmla="*/ 732 w 1514"/>
                      <a:gd name="T15" fmla="*/ 1111 h 1706"/>
                      <a:gd name="T16" fmla="*/ 684 w 1514"/>
                      <a:gd name="T17" fmla="*/ 1064 h 1706"/>
                      <a:gd name="T18" fmla="*/ 756 w 1514"/>
                      <a:gd name="T19" fmla="*/ 918 h 1706"/>
                      <a:gd name="T20" fmla="*/ 791 w 1514"/>
                      <a:gd name="T21" fmla="*/ 839 h 1706"/>
                      <a:gd name="T22" fmla="*/ 929 w 1514"/>
                      <a:gd name="T23" fmla="*/ 832 h 1706"/>
                      <a:gd name="T24" fmla="*/ 1050 w 1514"/>
                      <a:gd name="T25" fmla="*/ 863 h 1706"/>
                      <a:gd name="T26" fmla="*/ 1100 w 1514"/>
                      <a:gd name="T27" fmla="*/ 962 h 1706"/>
                      <a:gd name="T28" fmla="*/ 1192 w 1514"/>
                      <a:gd name="T29" fmla="*/ 948 h 1706"/>
                      <a:gd name="T30" fmla="*/ 1255 w 1514"/>
                      <a:gd name="T31" fmla="*/ 844 h 1706"/>
                      <a:gd name="T32" fmla="*/ 1305 w 1514"/>
                      <a:gd name="T33" fmla="*/ 760 h 1706"/>
                      <a:gd name="T34" fmla="*/ 1345 w 1514"/>
                      <a:gd name="T35" fmla="*/ 651 h 1706"/>
                      <a:gd name="T36" fmla="*/ 1397 w 1514"/>
                      <a:gd name="T37" fmla="*/ 487 h 1706"/>
                      <a:gd name="T38" fmla="*/ 1433 w 1514"/>
                      <a:gd name="T39" fmla="*/ 409 h 1706"/>
                      <a:gd name="T40" fmla="*/ 1458 w 1514"/>
                      <a:gd name="T41" fmla="*/ 358 h 1706"/>
                      <a:gd name="T42" fmla="*/ 1439 w 1514"/>
                      <a:gd name="T43" fmla="*/ 279 h 1706"/>
                      <a:gd name="T44" fmla="*/ 1506 w 1514"/>
                      <a:gd name="T45" fmla="*/ 209 h 1706"/>
                      <a:gd name="T46" fmla="*/ 1491 w 1514"/>
                      <a:gd name="T47" fmla="*/ 173 h 1706"/>
                      <a:gd name="T48" fmla="*/ 1456 w 1514"/>
                      <a:gd name="T49" fmla="*/ 143 h 1706"/>
                      <a:gd name="T50" fmla="*/ 1408 w 1514"/>
                      <a:gd name="T51" fmla="*/ 60 h 1706"/>
                      <a:gd name="T52" fmla="*/ 1391 w 1514"/>
                      <a:gd name="T53" fmla="*/ 13 h 1706"/>
                      <a:gd name="T54" fmla="*/ 1295 w 1514"/>
                      <a:gd name="T55" fmla="*/ 24 h 1706"/>
                      <a:gd name="T56" fmla="*/ 1232 w 1514"/>
                      <a:gd name="T57" fmla="*/ 71 h 1706"/>
                      <a:gd name="T58" fmla="*/ 1122 w 1514"/>
                      <a:gd name="T59" fmla="*/ 157 h 1706"/>
                      <a:gd name="T60" fmla="*/ 1098 w 1514"/>
                      <a:gd name="T61" fmla="*/ 231 h 1706"/>
                      <a:gd name="T62" fmla="*/ 1095 w 1514"/>
                      <a:gd name="T63" fmla="*/ 306 h 1706"/>
                      <a:gd name="T64" fmla="*/ 1005 w 1514"/>
                      <a:gd name="T65" fmla="*/ 421 h 1706"/>
                      <a:gd name="T66" fmla="*/ 889 w 1514"/>
                      <a:gd name="T67" fmla="*/ 352 h 1706"/>
                      <a:gd name="T68" fmla="*/ 844 w 1514"/>
                      <a:gd name="T69" fmla="*/ 315 h 1706"/>
                      <a:gd name="T70" fmla="*/ 802 w 1514"/>
                      <a:gd name="T71" fmla="*/ 317 h 1706"/>
                      <a:gd name="T72" fmla="*/ 735 w 1514"/>
                      <a:gd name="T73" fmla="*/ 389 h 1706"/>
                      <a:gd name="T74" fmla="*/ 655 w 1514"/>
                      <a:gd name="T75" fmla="*/ 474 h 1706"/>
                      <a:gd name="T76" fmla="*/ 620 w 1514"/>
                      <a:gd name="T77" fmla="*/ 486 h 1706"/>
                      <a:gd name="T78" fmla="*/ 583 w 1514"/>
                      <a:gd name="T79" fmla="*/ 356 h 1706"/>
                      <a:gd name="T80" fmla="*/ 540 w 1514"/>
                      <a:gd name="T81" fmla="*/ 351 h 1706"/>
                      <a:gd name="T82" fmla="*/ 419 w 1514"/>
                      <a:gd name="T83" fmla="*/ 458 h 1706"/>
                      <a:gd name="T84" fmla="*/ 349 w 1514"/>
                      <a:gd name="T85" fmla="*/ 512 h 1706"/>
                      <a:gd name="T86" fmla="*/ 273 w 1514"/>
                      <a:gd name="T87" fmla="*/ 574 h 1706"/>
                      <a:gd name="T88" fmla="*/ 177 w 1514"/>
                      <a:gd name="T89" fmla="*/ 708 h 1706"/>
                      <a:gd name="T90" fmla="*/ 158 w 1514"/>
                      <a:gd name="T91" fmla="*/ 853 h 1706"/>
                      <a:gd name="T92" fmla="*/ 24 w 1514"/>
                      <a:gd name="T93" fmla="*/ 946 h 1706"/>
                      <a:gd name="T94" fmla="*/ 52 w 1514"/>
                      <a:gd name="T95" fmla="*/ 1082 h 1706"/>
                      <a:gd name="T96" fmla="*/ 203 w 1514"/>
                      <a:gd name="T97" fmla="*/ 1081 h 1706"/>
                      <a:gd name="T98" fmla="*/ 197 w 1514"/>
                      <a:gd name="T99" fmla="*/ 1174 h 1706"/>
                      <a:gd name="T100" fmla="*/ 125 w 1514"/>
                      <a:gd name="T101" fmla="*/ 1222 h 1706"/>
                      <a:gd name="T102" fmla="*/ 184 w 1514"/>
                      <a:gd name="T103" fmla="*/ 1254 h 1706"/>
                      <a:gd name="T104" fmla="*/ 173 w 1514"/>
                      <a:gd name="T105" fmla="*/ 1311 h 1706"/>
                      <a:gd name="T106" fmla="*/ 183 w 1514"/>
                      <a:gd name="T107" fmla="*/ 1353 h 1706"/>
                      <a:gd name="T108" fmla="*/ 362 w 1514"/>
                      <a:gd name="T109" fmla="*/ 1498 h 1706"/>
                      <a:gd name="T110" fmla="*/ 552 w 1514"/>
                      <a:gd name="T111" fmla="*/ 1701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4" h="1706">
                        <a:moveTo>
                          <a:pt x="590" y="1659"/>
                        </a:moveTo>
                        <a:cubicBezTo>
                          <a:pt x="595" y="1641"/>
                          <a:pt x="590" y="1628"/>
                          <a:pt x="598" y="1620"/>
                        </a:cubicBezTo>
                        <a:cubicBezTo>
                          <a:pt x="607" y="1612"/>
                          <a:pt x="612" y="1620"/>
                          <a:pt x="618" y="1606"/>
                        </a:cubicBezTo>
                        <a:cubicBezTo>
                          <a:pt x="624" y="1593"/>
                          <a:pt x="620" y="1583"/>
                          <a:pt x="627" y="1576"/>
                        </a:cubicBezTo>
                        <a:cubicBezTo>
                          <a:pt x="634" y="1568"/>
                          <a:pt x="644" y="1543"/>
                          <a:pt x="648" y="1530"/>
                        </a:cubicBezTo>
                        <a:cubicBezTo>
                          <a:pt x="652" y="1517"/>
                          <a:pt x="655" y="1500"/>
                          <a:pt x="655" y="1497"/>
                        </a:cubicBezTo>
                        <a:cubicBezTo>
                          <a:pt x="656" y="1493"/>
                          <a:pt x="669" y="1490"/>
                          <a:pt x="670" y="1490"/>
                        </a:cubicBezTo>
                        <a:cubicBezTo>
                          <a:pt x="672" y="1489"/>
                          <a:pt x="677" y="1480"/>
                          <a:pt x="679" y="1477"/>
                        </a:cubicBezTo>
                        <a:cubicBezTo>
                          <a:pt x="680" y="1475"/>
                          <a:pt x="688" y="1468"/>
                          <a:pt x="695" y="1460"/>
                        </a:cubicBezTo>
                        <a:cubicBezTo>
                          <a:pt x="694" y="1454"/>
                          <a:pt x="690" y="1437"/>
                          <a:pt x="681" y="1432"/>
                        </a:cubicBezTo>
                        <a:cubicBezTo>
                          <a:pt x="669" y="1425"/>
                          <a:pt x="657" y="1420"/>
                          <a:pt x="651" y="1417"/>
                        </a:cubicBezTo>
                        <a:cubicBezTo>
                          <a:pt x="646" y="1415"/>
                          <a:pt x="632" y="1418"/>
                          <a:pt x="628" y="1414"/>
                        </a:cubicBezTo>
                        <a:cubicBezTo>
                          <a:pt x="624" y="1410"/>
                          <a:pt x="619" y="1397"/>
                          <a:pt x="615" y="1396"/>
                        </a:cubicBezTo>
                        <a:cubicBezTo>
                          <a:pt x="611" y="1395"/>
                          <a:pt x="601" y="1393"/>
                          <a:pt x="600" y="1383"/>
                        </a:cubicBezTo>
                        <a:cubicBezTo>
                          <a:pt x="599" y="1374"/>
                          <a:pt x="592" y="1366"/>
                          <a:pt x="593" y="1357"/>
                        </a:cubicBezTo>
                        <a:cubicBezTo>
                          <a:pt x="593" y="1349"/>
                          <a:pt x="595" y="1322"/>
                          <a:pt x="599" y="1316"/>
                        </a:cubicBezTo>
                        <a:cubicBezTo>
                          <a:pt x="604" y="1311"/>
                          <a:pt x="605" y="1282"/>
                          <a:pt x="605" y="1282"/>
                        </a:cubicBezTo>
                        <a:cubicBezTo>
                          <a:pt x="646" y="1281"/>
                          <a:pt x="646" y="1281"/>
                          <a:pt x="646" y="1281"/>
                        </a:cubicBezTo>
                        <a:cubicBezTo>
                          <a:pt x="646" y="1281"/>
                          <a:pt x="659" y="1258"/>
                          <a:pt x="664" y="1256"/>
                        </a:cubicBezTo>
                        <a:cubicBezTo>
                          <a:pt x="668" y="1254"/>
                          <a:pt x="674" y="1260"/>
                          <a:pt x="674" y="1255"/>
                        </a:cubicBezTo>
                        <a:cubicBezTo>
                          <a:pt x="673" y="1250"/>
                          <a:pt x="674" y="1211"/>
                          <a:pt x="674" y="1211"/>
                        </a:cubicBezTo>
                        <a:cubicBezTo>
                          <a:pt x="674" y="1211"/>
                          <a:pt x="705" y="1187"/>
                          <a:pt x="707" y="1175"/>
                        </a:cubicBezTo>
                        <a:cubicBezTo>
                          <a:pt x="709" y="1163"/>
                          <a:pt x="700" y="1160"/>
                          <a:pt x="709" y="1152"/>
                        </a:cubicBezTo>
                        <a:cubicBezTo>
                          <a:pt x="718" y="1143"/>
                          <a:pt x="734" y="1113"/>
                          <a:pt x="732" y="1111"/>
                        </a:cubicBezTo>
                        <a:cubicBezTo>
                          <a:pt x="731" y="1109"/>
                          <a:pt x="720" y="1095"/>
                          <a:pt x="719" y="1095"/>
                        </a:cubicBezTo>
                        <a:cubicBezTo>
                          <a:pt x="718" y="1095"/>
                          <a:pt x="703" y="1093"/>
                          <a:pt x="701" y="1090"/>
                        </a:cubicBezTo>
                        <a:cubicBezTo>
                          <a:pt x="699" y="1086"/>
                          <a:pt x="684" y="1064"/>
                          <a:pt x="684" y="1064"/>
                        </a:cubicBezTo>
                        <a:cubicBezTo>
                          <a:pt x="684" y="1064"/>
                          <a:pt x="688" y="1037"/>
                          <a:pt x="693" y="1018"/>
                        </a:cubicBezTo>
                        <a:cubicBezTo>
                          <a:pt x="699" y="999"/>
                          <a:pt x="698" y="963"/>
                          <a:pt x="711" y="949"/>
                        </a:cubicBezTo>
                        <a:cubicBezTo>
                          <a:pt x="723" y="935"/>
                          <a:pt x="751" y="931"/>
                          <a:pt x="756" y="918"/>
                        </a:cubicBezTo>
                        <a:cubicBezTo>
                          <a:pt x="762" y="906"/>
                          <a:pt x="756" y="889"/>
                          <a:pt x="759" y="886"/>
                        </a:cubicBezTo>
                        <a:cubicBezTo>
                          <a:pt x="762" y="884"/>
                          <a:pt x="777" y="866"/>
                          <a:pt x="777" y="866"/>
                        </a:cubicBezTo>
                        <a:cubicBezTo>
                          <a:pt x="777" y="866"/>
                          <a:pt x="778" y="854"/>
                          <a:pt x="791" y="839"/>
                        </a:cubicBezTo>
                        <a:cubicBezTo>
                          <a:pt x="805" y="824"/>
                          <a:pt x="807" y="808"/>
                          <a:pt x="815" y="807"/>
                        </a:cubicBezTo>
                        <a:cubicBezTo>
                          <a:pt x="822" y="807"/>
                          <a:pt x="823" y="792"/>
                          <a:pt x="842" y="801"/>
                        </a:cubicBezTo>
                        <a:cubicBezTo>
                          <a:pt x="861" y="810"/>
                          <a:pt x="922" y="831"/>
                          <a:pt x="929" y="832"/>
                        </a:cubicBezTo>
                        <a:cubicBezTo>
                          <a:pt x="936" y="832"/>
                          <a:pt x="1066" y="830"/>
                          <a:pt x="1066" y="830"/>
                        </a:cubicBezTo>
                        <a:cubicBezTo>
                          <a:pt x="1086" y="863"/>
                          <a:pt x="1086" y="863"/>
                          <a:pt x="1086" y="863"/>
                        </a:cubicBezTo>
                        <a:cubicBezTo>
                          <a:pt x="1050" y="863"/>
                          <a:pt x="1050" y="863"/>
                          <a:pt x="1050" y="863"/>
                        </a:cubicBezTo>
                        <a:cubicBezTo>
                          <a:pt x="1050" y="863"/>
                          <a:pt x="1040" y="889"/>
                          <a:pt x="1054" y="901"/>
                        </a:cubicBezTo>
                        <a:cubicBezTo>
                          <a:pt x="1067" y="913"/>
                          <a:pt x="1070" y="942"/>
                          <a:pt x="1075" y="950"/>
                        </a:cubicBezTo>
                        <a:cubicBezTo>
                          <a:pt x="1081" y="958"/>
                          <a:pt x="1095" y="964"/>
                          <a:pt x="1100" y="962"/>
                        </a:cubicBezTo>
                        <a:cubicBezTo>
                          <a:pt x="1105" y="960"/>
                          <a:pt x="1123" y="947"/>
                          <a:pt x="1131" y="940"/>
                        </a:cubicBezTo>
                        <a:cubicBezTo>
                          <a:pt x="1139" y="933"/>
                          <a:pt x="1150" y="918"/>
                          <a:pt x="1165" y="922"/>
                        </a:cubicBezTo>
                        <a:cubicBezTo>
                          <a:pt x="1180" y="926"/>
                          <a:pt x="1176" y="946"/>
                          <a:pt x="1192" y="948"/>
                        </a:cubicBezTo>
                        <a:cubicBezTo>
                          <a:pt x="1208" y="951"/>
                          <a:pt x="1226" y="928"/>
                          <a:pt x="1232" y="922"/>
                        </a:cubicBezTo>
                        <a:cubicBezTo>
                          <a:pt x="1238" y="917"/>
                          <a:pt x="1251" y="881"/>
                          <a:pt x="1252" y="864"/>
                        </a:cubicBezTo>
                        <a:cubicBezTo>
                          <a:pt x="1253" y="848"/>
                          <a:pt x="1252" y="847"/>
                          <a:pt x="1255" y="844"/>
                        </a:cubicBezTo>
                        <a:cubicBezTo>
                          <a:pt x="1259" y="842"/>
                          <a:pt x="1270" y="837"/>
                          <a:pt x="1270" y="834"/>
                        </a:cubicBezTo>
                        <a:cubicBezTo>
                          <a:pt x="1270" y="830"/>
                          <a:pt x="1272" y="814"/>
                          <a:pt x="1273" y="811"/>
                        </a:cubicBezTo>
                        <a:cubicBezTo>
                          <a:pt x="1273" y="808"/>
                          <a:pt x="1310" y="784"/>
                          <a:pt x="1305" y="760"/>
                        </a:cubicBezTo>
                        <a:cubicBezTo>
                          <a:pt x="1301" y="736"/>
                          <a:pt x="1292" y="719"/>
                          <a:pt x="1294" y="710"/>
                        </a:cubicBezTo>
                        <a:cubicBezTo>
                          <a:pt x="1297" y="702"/>
                          <a:pt x="1323" y="662"/>
                          <a:pt x="1326" y="661"/>
                        </a:cubicBezTo>
                        <a:cubicBezTo>
                          <a:pt x="1328" y="661"/>
                          <a:pt x="1341" y="657"/>
                          <a:pt x="1345" y="651"/>
                        </a:cubicBezTo>
                        <a:cubicBezTo>
                          <a:pt x="1348" y="646"/>
                          <a:pt x="1352" y="622"/>
                          <a:pt x="1358" y="614"/>
                        </a:cubicBezTo>
                        <a:cubicBezTo>
                          <a:pt x="1364" y="606"/>
                          <a:pt x="1379" y="587"/>
                          <a:pt x="1381" y="564"/>
                        </a:cubicBezTo>
                        <a:cubicBezTo>
                          <a:pt x="1383" y="542"/>
                          <a:pt x="1394" y="504"/>
                          <a:pt x="1397" y="487"/>
                        </a:cubicBezTo>
                        <a:cubicBezTo>
                          <a:pt x="1401" y="470"/>
                          <a:pt x="1414" y="465"/>
                          <a:pt x="1416" y="448"/>
                        </a:cubicBezTo>
                        <a:cubicBezTo>
                          <a:pt x="1418" y="431"/>
                          <a:pt x="1413" y="424"/>
                          <a:pt x="1421" y="418"/>
                        </a:cubicBezTo>
                        <a:cubicBezTo>
                          <a:pt x="1429" y="411"/>
                          <a:pt x="1431" y="409"/>
                          <a:pt x="1433" y="409"/>
                        </a:cubicBezTo>
                        <a:cubicBezTo>
                          <a:pt x="1434" y="409"/>
                          <a:pt x="1457" y="410"/>
                          <a:pt x="1458" y="409"/>
                        </a:cubicBezTo>
                        <a:cubicBezTo>
                          <a:pt x="1459" y="409"/>
                          <a:pt x="1466" y="379"/>
                          <a:pt x="1464" y="374"/>
                        </a:cubicBezTo>
                        <a:cubicBezTo>
                          <a:pt x="1461" y="368"/>
                          <a:pt x="1456" y="366"/>
                          <a:pt x="1458" y="358"/>
                        </a:cubicBezTo>
                        <a:cubicBezTo>
                          <a:pt x="1460" y="351"/>
                          <a:pt x="1469" y="330"/>
                          <a:pt x="1471" y="328"/>
                        </a:cubicBezTo>
                        <a:cubicBezTo>
                          <a:pt x="1473" y="325"/>
                          <a:pt x="1469" y="309"/>
                          <a:pt x="1463" y="301"/>
                        </a:cubicBezTo>
                        <a:cubicBezTo>
                          <a:pt x="1457" y="294"/>
                          <a:pt x="1439" y="279"/>
                          <a:pt x="1439" y="279"/>
                        </a:cubicBezTo>
                        <a:cubicBezTo>
                          <a:pt x="1439" y="279"/>
                          <a:pt x="1436" y="258"/>
                          <a:pt x="1447" y="251"/>
                        </a:cubicBezTo>
                        <a:cubicBezTo>
                          <a:pt x="1457" y="243"/>
                          <a:pt x="1483" y="242"/>
                          <a:pt x="1487" y="239"/>
                        </a:cubicBezTo>
                        <a:cubicBezTo>
                          <a:pt x="1491" y="237"/>
                          <a:pt x="1502" y="213"/>
                          <a:pt x="1506" y="209"/>
                        </a:cubicBezTo>
                        <a:cubicBezTo>
                          <a:pt x="1507" y="207"/>
                          <a:pt x="1511" y="201"/>
                          <a:pt x="1514" y="196"/>
                        </a:cubicBezTo>
                        <a:cubicBezTo>
                          <a:pt x="1512" y="193"/>
                          <a:pt x="1508" y="190"/>
                          <a:pt x="1503" y="188"/>
                        </a:cubicBezTo>
                        <a:cubicBezTo>
                          <a:pt x="1494" y="185"/>
                          <a:pt x="1490" y="179"/>
                          <a:pt x="1491" y="173"/>
                        </a:cubicBezTo>
                        <a:cubicBezTo>
                          <a:pt x="1492" y="167"/>
                          <a:pt x="1479" y="171"/>
                          <a:pt x="1473" y="163"/>
                        </a:cubicBezTo>
                        <a:cubicBezTo>
                          <a:pt x="1468" y="154"/>
                          <a:pt x="1464" y="158"/>
                          <a:pt x="1460" y="158"/>
                        </a:cubicBezTo>
                        <a:cubicBezTo>
                          <a:pt x="1456" y="158"/>
                          <a:pt x="1457" y="148"/>
                          <a:pt x="1456" y="143"/>
                        </a:cubicBezTo>
                        <a:cubicBezTo>
                          <a:pt x="1454" y="138"/>
                          <a:pt x="1442" y="132"/>
                          <a:pt x="1436" y="126"/>
                        </a:cubicBezTo>
                        <a:cubicBezTo>
                          <a:pt x="1430" y="119"/>
                          <a:pt x="1406" y="76"/>
                          <a:pt x="1406" y="74"/>
                        </a:cubicBezTo>
                        <a:cubicBezTo>
                          <a:pt x="1405" y="72"/>
                          <a:pt x="1403" y="64"/>
                          <a:pt x="1408" y="60"/>
                        </a:cubicBezTo>
                        <a:cubicBezTo>
                          <a:pt x="1413" y="56"/>
                          <a:pt x="1420" y="30"/>
                          <a:pt x="1420" y="27"/>
                        </a:cubicBezTo>
                        <a:cubicBezTo>
                          <a:pt x="1419" y="23"/>
                          <a:pt x="1414" y="19"/>
                          <a:pt x="1411" y="9"/>
                        </a:cubicBezTo>
                        <a:cubicBezTo>
                          <a:pt x="1408" y="0"/>
                          <a:pt x="1398" y="8"/>
                          <a:pt x="1391" y="13"/>
                        </a:cubicBezTo>
                        <a:cubicBezTo>
                          <a:pt x="1383" y="18"/>
                          <a:pt x="1342" y="16"/>
                          <a:pt x="1339" y="17"/>
                        </a:cubicBezTo>
                        <a:cubicBezTo>
                          <a:pt x="1336" y="17"/>
                          <a:pt x="1310" y="29"/>
                          <a:pt x="1306" y="29"/>
                        </a:cubicBezTo>
                        <a:cubicBezTo>
                          <a:pt x="1303" y="29"/>
                          <a:pt x="1299" y="27"/>
                          <a:pt x="1295" y="24"/>
                        </a:cubicBezTo>
                        <a:cubicBezTo>
                          <a:pt x="1290" y="34"/>
                          <a:pt x="1284" y="45"/>
                          <a:pt x="1282" y="48"/>
                        </a:cubicBezTo>
                        <a:cubicBezTo>
                          <a:pt x="1277" y="53"/>
                          <a:pt x="1254" y="74"/>
                          <a:pt x="1254" y="74"/>
                        </a:cubicBezTo>
                        <a:cubicBezTo>
                          <a:pt x="1254" y="74"/>
                          <a:pt x="1233" y="71"/>
                          <a:pt x="1232" y="71"/>
                        </a:cubicBezTo>
                        <a:cubicBezTo>
                          <a:pt x="1231" y="71"/>
                          <a:pt x="1192" y="78"/>
                          <a:pt x="1177" y="91"/>
                        </a:cubicBezTo>
                        <a:cubicBezTo>
                          <a:pt x="1162" y="103"/>
                          <a:pt x="1145" y="125"/>
                          <a:pt x="1139" y="135"/>
                        </a:cubicBezTo>
                        <a:cubicBezTo>
                          <a:pt x="1133" y="144"/>
                          <a:pt x="1122" y="157"/>
                          <a:pt x="1122" y="157"/>
                        </a:cubicBezTo>
                        <a:cubicBezTo>
                          <a:pt x="1122" y="201"/>
                          <a:pt x="1122" y="201"/>
                          <a:pt x="1122" y="201"/>
                        </a:cubicBezTo>
                        <a:cubicBezTo>
                          <a:pt x="1122" y="201"/>
                          <a:pt x="1116" y="212"/>
                          <a:pt x="1109" y="220"/>
                        </a:cubicBezTo>
                        <a:cubicBezTo>
                          <a:pt x="1101" y="227"/>
                          <a:pt x="1098" y="231"/>
                          <a:pt x="1098" y="231"/>
                        </a:cubicBezTo>
                        <a:cubicBezTo>
                          <a:pt x="1121" y="234"/>
                          <a:pt x="1121" y="234"/>
                          <a:pt x="1121" y="234"/>
                        </a:cubicBezTo>
                        <a:cubicBezTo>
                          <a:pt x="1098" y="256"/>
                          <a:pt x="1098" y="256"/>
                          <a:pt x="1098" y="256"/>
                        </a:cubicBezTo>
                        <a:cubicBezTo>
                          <a:pt x="1098" y="256"/>
                          <a:pt x="1108" y="290"/>
                          <a:pt x="1095" y="306"/>
                        </a:cubicBezTo>
                        <a:cubicBezTo>
                          <a:pt x="1082" y="321"/>
                          <a:pt x="1078" y="343"/>
                          <a:pt x="1074" y="347"/>
                        </a:cubicBezTo>
                        <a:cubicBezTo>
                          <a:pt x="1070" y="351"/>
                          <a:pt x="1051" y="399"/>
                          <a:pt x="1043" y="406"/>
                        </a:cubicBezTo>
                        <a:cubicBezTo>
                          <a:pt x="1036" y="412"/>
                          <a:pt x="1010" y="420"/>
                          <a:pt x="1005" y="421"/>
                        </a:cubicBezTo>
                        <a:cubicBezTo>
                          <a:pt x="1000" y="422"/>
                          <a:pt x="921" y="453"/>
                          <a:pt x="916" y="448"/>
                        </a:cubicBezTo>
                        <a:cubicBezTo>
                          <a:pt x="911" y="443"/>
                          <a:pt x="899" y="432"/>
                          <a:pt x="896" y="429"/>
                        </a:cubicBezTo>
                        <a:cubicBezTo>
                          <a:pt x="893" y="426"/>
                          <a:pt x="892" y="354"/>
                          <a:pt x="889" y="352"/>
                        </a:cubicBezTo>
                        <a:cubicBezTo>
                          <a:pt x="886" y="350"/>
                          <a:pt x="866" y="354"/>
                          <a:pt x="864" y="343"/>
                        </a:cubicBezTo>
                        <a:cubicBezTo>
                          <a:pt x="862" y="332"/>
                          <a:pt x="862" y="328"/>
                          <a:pt x="857" y="325"/>
                        </a:cubicBezTo>
                        <a:cubicBezTo>
                          <a:pt x="853" y="322"/>
                          <a:pt x="843" y="316"/>
                          <a:pt x="844" y="315"/>
                        </a:cubicBezTo>
                        <a:cubicBezTo>
                          <a:pt x="844" y="313"/>
                          <a:pt x="846" y="295"/>
                          <a:pt x="845" y="294"/>
                        </a:cubicBezTo>
                        <a:cubicBezTo>
                          <a:pt x="844" y="294"/>
                          <a:pt x="829" y="294"/>
                          <a:pt x="829" y="294"/>
                        </a:cubicBezTo>
                        <a:cubicBezTo>
                          <a:pt x="829" y="294"/>
                          <a:pt x="809" y="311"/>
                          <a:pt x="802" y="317"/>
                        </a:cubicBezTo>
                        <a:cubicBezTo>
                          <a:pt x="794" y="323"/>
                          <a:pt x="779" y="330"/>
                          <a:pt x="779" y="330"/>
                        </a:cubicBezTo>
                        <a:cubicBezTo>
                          <a:pt x="748" y="327"/>
                          <a:pt x="748" y="327"/>
                          <a:pt x="748" y="327"/>
                        </a:cubicBezTo>
                        <a:cubicBezTo>
                          <a:pt x="748" y="327"/>
                          <a:pt x="741" y="384"/>
                          <a:pt x="735" y="389"/>
                        </a:cubicBezTo>
                        <a:cubicBezTo>
                          <a:pt x="730" y="394"/>
                          <a:pt x="706" y="431"/>
                          <a:pt x="703" y="431"/>
                        </a:cubicBezTo>
                        <a:cubicBezTo>
                          <a:pt x="700" y="431"/>
                          <a:pt x="693" y="431"/>
                          <a:pt x="692" y="432"/>
                        </a:cubicBezTo>
                        <a:cubicBezTo>
                          <a:pt x="691" y="432"/>
                          <a:pt x="655" y="474"/>
                          <a:pt x="655" y="474"/>
                        </a:cubicBezTo>
                        <a:cubicBezTo>
                          <a:pt x="655" y="474"/>
                          <a:pt x="651" y="502"/>
                          <a:pt x="646" y="500"/>
                        </a:cubicBezTo>
                        <a:cubicBezTo>
                          <a:pt x="640" y="498"/>
                          <a:pt x="609" y="516"/>
                          <a:pt x="613" y="502"/>
                        </a:cubicBezTo>
                        <a:cubicBezTo>
                          <a:pt x="616" y="487"/>
                          <a:pt x="619" y="492"/>
                          <a:pt x="620" y="486"/>
                        </a:cubicBezTo>
                        <a:cubicBezTo>
                          <a:pt x="621" y="480"/>
                          <a:pt x="622" y="444"/>
                          <a:pt x="617" y="422"/>
                        </a:cubicBezTo>
                        <a:cubicBezTo>
                          <a:pt x="613" y="401"/>
                          <a:pt x="611" y="380"/>
                          <a:pt x="606" y="372"/>
                        </a:cubicBezTo>
                        <a:cubicBezTo>
                          <a:pt x="601" y="363"/>
                          <a:pt x="587" y="357"/>
                          <a:pt x="583" y="356"/>
                        </a:cubicBezTo>
                        <a:cubicBezTo>
                          <a:pt x="578" y="356"/>
                          <a:pt x="553" y="350"/>
                          <a:pt x="553" y="350"/>
                        </a:cubicBezTo>
                        <a:cubicBezTo>
                          <a:pt x="539" y="350"/>
                          <a:pt x="539" y="350"/>
                          <a:pt x="539" y="350"/>
                        </a:cubicBezTo>
                        <a:cubicBezTo>
                          <a:pt x="540" y="351"/>
                          <a:pt x="540" y="351"/>
                          <a:pt x="540" y="351"/>
                        </a:cubicBezTo>
                        <a:cubicBezTo>
                          <a:pt x="540" y="351"/>
                          <a:pt x="533" y="364"/>
                          <a:pt x="522" y="371"/>
                        </a:cubicBezTo>
                        <a:cubicBezTo>
                          <a:pt x="511" y="377"/>
                          <a:pt x="435" y="375"/>
                          <a:pt x="426" y="381"/>
                        </a:cubicBezTo>
                        <a:cubicBezTo>
                          <a:pt x="417" y="386"/>
                          <a:pt x="419" y="453"/>
                          <a:pt x="419" y="458"/>
                        </a:cubicBezTo>
                        <a:cubicBezTo>
                          <a:pt x="419" y="462"/>
                          <a:pt x="423" y="479"/>
                          <a:pt x="421" y="493"/>
                        </a:cubicBezTo>
                        <a:cubicBezTo>
                          <a:pt x="418" y="507"/>
                          <a:pt x="388" y="511"/>
                          <a:pt x="384" y="511"/>
                        </a:cubicBezTo>
                        <a:cubicBezTo>
                          <a:pt x="380" y="512"/>
                          <a:pt x="355" y="512"/>
                          <a:pt x="349" y="512"/>
                        </a:cubicBezTo>
                        <a:cubicBezTo>
                          <a:pt x="343" y="513"/>
                          <a:pt x="339" y="521"/>
                          <a:pt x="332" y="521"/>
                        </a:cubicBezTo>
                        <a:cubicBezTo>
                          <a:pt x="326" y="522"/>
                          <a:pt x="319" y="537"/>
                          <a:pt x="315" y="541"/>
                        </a:cubicBezTo>
                        <a:cubicBezTo>
                          <a:pt x="311" y="545"/>
                          <a:pt x="291" y="556"/>
                          <a:pt x="273" y="574"/>
                        </a:cubicBezTo>
                        <a:cubicBezTo>
                          <a:pt x="254" y="593"/>
                          <a:pt x="219" y="626"/>
                          <a:pt x="219" y="626"/>
                        </a:cubicBezTo>
                        <a:cubicBezTo>
                          <a:pt x="219" y="626"/>
                          <a:pt x="213" y="642"/>
                          <a:pt x="202" y="655"/>
                        </a:cubicBezTo>
                        <a:cubicBezTo>
                          <a:pt x="192" y="667"/>
                          <a:pt x="179" y="701"/>
                          <a:pt x="177" y="708"/>
                        </a:cubicBezTo>
                        <a:cubicBezTo>
                          <a:pt x="176" y="709"/>
                          <a:pt x="176" y="710"/>
                          <a:pt x="176" y="710"/>
                        </a:cubicBezTo>
                        <a:cubicBezTo>
                          <a:pt x="176" y="710"/>
                          <a:pt x="167" y="771"/>
                          <a:pt x="163" y="778"/>
                        </a:cubicBezTo>
                        <a:cubicBezTo>
                          <a:pt x="160" y="785"/>
                          <a:pt x="158" y="851"/>
                          <a:pt x="158" y="853"/>
                        </a:cubicBezTo>
                        <a:cubicBezTo>
                          <a:pt x="158" y="854"/>
                          <a:pt x="129" y="885"/>
                          <a:pt x="127" y="887"/>
                        </a:cubicBezTo>
                        <a:cubicBezTo>
                          <a:pt x="125" y="888"/>
                          <a:pt x="120" y="887"/>
                          <a:pt x="109" y="887"/>
                        </a:cubicBezTo>
                        <a:cubicBezTo>
                          <a:pt x="98" y="887"/>
                          <a:pt x="37" y="936"/>
                          <a:pt x="24" y="946"/>
                        </a:cubicBezTo>
                        <a:cubicBezTo>
                          <a:pt x="11" y="955"/>
                          <a:pt x="13" y="1002"/>
                          <a:pt x="13" y="1002"/>
                        </a:cubicBezTo>
                        <a:cubicBezTo>
                          <a:pt x="13" y="1002"/>
                          <a:pt x="11" y="1007"/>
                          <a:pt x="5" y="1018"/>
                        </a:cubicBezTo>
                        <a:cubicBezTo>
                          <a:pt x="0" y="1030"/>
                          <a:pt x="52" y="1082"/>
                          <a:pt x="52" y="1082"/>
                        </a:cubicBezTo>
                        <a:cubicBezTo>
                          <a:pt x="129" y="1082"/>
                          <a:pt x="129" y="1082"/>
                          <a:pt x="129" y="1082"/>
                        </a:cubicBezTo>
                        <a:cubicBezTo>
                          <a:pt x="129" y="1082"/>
                          <a:pt x="177" y="1035"/>
                          <a:pt x="186" y="1032"/>
                        </a:cubicBezTo>
                        <a:cubicBezTo>
                          <a:pt x="196" y="1029"/>
                          <a:pt x="203" y="1081"/>
                          <a:pt x="203" y="1081"/>
                        </a:cubicBezTo>
                        <a:cubicBezTo>
                          <a:pt x="203" y="1081"/>
                          <a:pt x="197" y="1094"/>
                          <a:pt x="191" y="1103"/>
                        </a:cubicBezTo>
                        <a:cubicBezTo>
                          <a:pt x="186" y="1113"/>
                          <a:pt x="194" y="1123"/>
                          <a:pt x="197" y="1134"/>
                        </a:cubicBezTo>
                        <a:cubicBezTo>
                          <a:pt x="199" y="1145"/>
                          <a:pt x="197" y="1174"/>
                          <a:pt x="197" y="1174"/>
                        </a:cubicBezTo>
                        <a:cubicBezTo>
                          <a:pt x="197" y="1174"/>
                          <a:pt x="173" y="1179"/>
                          <a:pt x="170" y="1182"/>
                        </a:cubicBezTo>
                        <a:cubicBezTo>
                          <a:pt x="167" y="1185"/>
                          <a:pt x="160" y="1211"/>
                          <a:pt x="159" y="1215"/>
                        </a:cubicBezTo>
                        <a:cubicBezTo>
                          <a:pt x="159" y="1220"/>
                          <a:pt x="133" y="1222"/>
                          <a:pt x="125" y="1222"/>
                        </a:cubicBezTo>
                        <a:cubicBezTo>
                          <a:pt x="117" y="1222"/>
                          <a:pt x="96" y="1223"/>
                          <a:pt x="96" y="1223"/>
                        </a:cubicBezTo>
                        <a:cubicBezTo>
                          <a:pt x="97" y="1255"/>
                          <a:pt x="97" y="1255"/>
                          <a:pt x="97" y="1255"/>
                        </a:cubicBezTo>
                        <a:cubicBezTo>
                          <a:pt x="184" y="1254"/>
                          <a:pt x="184" y="1254"/>
                          <a:pt x="184" y="1254"/>
                        </a:cubicBezTo>
                        <a:cubicBezTo>
                          <a:pt x="204" y="1273"/>
                          <a:pt x="204" y="1273"/>
                          <a:pt x="204" y="1273"/>
                        </a:cubicBezTo>
                        <a:cubicBezTo>
                          <a:pt x="199" y="1295"/>
                          <a:pt x="199" y="1295"/>
                          <a:pt x="199" y="1295"/>
                        </a:cubicBezTo>
                        <a:cubicBezTo>
                          <a:pt x="199" y="1295"/>
                          <a:pt x="183" y="1311"/>
                          <a:pt x="173" y="1311"/>
                        </a:cubicBezTo>
                        <a:cubicBezTo>
                          <a:pt x="167" y="1311"/>
                          <a:pt x="161" y="1320"/>
                          <a:pt x="156" y="1329"/>
                        </a:cubicBezTo>
                        <a:cubicBezTo>
                          <a:pt x="158" y="1329"/>
                          <a:pt x="160" y="1329"/>
                          <a:pt x="162" y="1329"/>
                        </a:cubicBezTo>
                        <a:cubicBezTo>
                          <a:pt x="179" y="1329"/>
                          <a:pt x="183" y="1353"/>
                          <a:pt x="183" y="1353"/>
                        </a:cubicBezTo>
                        <a:cubicBezTo>
                          <a:pt x="183" y="1353"/>
                          <a:pt x="217" y="1387"/>
                          <a:pt x="234" y="1388"/>
                        </a:cubicBezTo>
                        <a:cubicBezTo>
                          <a:pt x="251" y="1389"/>
                          <a:pt x="301" y="1437"/>
                          <a:pt x="321" y="1450"/>
                        </a:cubicBezTo>
                        <a:cubicBezTo>
                          <a:pt x="341" y="1463"/>
                          <a:pt x="347" y="1470"/>
                          <a:pt x="362" y="1498"/>
                        </a:cubicBezTo>
                        <a:cubicBezTo>
                          <a:pt x="377" y="1526"/>
                          <a:pt x="377" y="1519"/>
                          <a:pt x="398" y="1527"/>
                        </a:cubicBezTo>
                        <a:cubicBezTo>
                          <a:pt x="419" y="1535"/>
                          <a:pt x="449" y="1580"/>
                          <a:pt x="485" y="1603"/>
                        </a:cubicBezTo>
                        <a:cubicBezTo>
                          <a:pt x="521" y="1626"/>
                          <a:pt x="530" y="1659"/>
                          <a:pt x="552" y="1701"/>
                        </a:cubicBezTo>
                        <a:cubicBezTo>
                          <a:pt x="553" y="1703"/>
                          <a:pt x="553" y="1704"/>
                          <a:pt x="554" y="1706"/>
                        </a:cubicBezTo>
                        <a:cubicBezTo>
                          <a:pt x="566" y="1694"/>
                          <a:pt x="587" y="1672"/>
                          <a:pt x="590" y="1659"/>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551">
                    <a:extLst>
                      <a:ext uri="{FF2B5EF4-FFF2-40B4-BE49-F238E27FC236}">
                        <a16:creationId xmlns:a16="http://schemas.microsoft.com/office/drawing/2014/main" id="{3F66879D-24A6-94CE-BABA-AB7156BA2E67}"/>
                      </a:ext>
                    </a:extLst>
                  </p:cNvPr>
                  <p:cNvSpPr>
                    <a:spLocks noChangeAspect="1"/>
                  </p:cNvSpPr>
                  <p:nvPr/>
                </p:nvSpPr>
                <p:spPr bwMode="auto">
                  <a:xfrm>
                    <a:off x="4675924" y="2506088"/>
                    <a:ext cx="882877" cy="1100064"/>
                  </a:xfrm>
                  <a:custGeom>
                    <a:avLst/>
                    <a:gdLst>
                      <a:gd name="T0" fmla="*/ 279 w 2261"/>
                      <a:gd name="T1" fmla="*/ 1972 h 2817"/>
                      <a:gd name="T2" fmla="*/ 406 w 2261"/>
                      <a:gd name="T3" fmla="*/ 2056 h 2817"/>
                      <a:gd name="T4" fmla="*/ 631 w 2261"/>
                      <a:gd name="T5" fmla="*/ 2042 h 2817"/>
                      <a:gd name="T6" fmla="*/ 827 w 2261"/>
                      <a:gd name="T7" fmla="*/ 2166 h 2817"/>
                      <a:gd name="T8" fmla="*/ 988 w 2261"/>
                      <a:gd name="T9" fmla="*/ 2172 h 2817"/>
                      <a:gd name="T10" fmla="*/ 1101 w 2261"/>
                      <a:gd name="T11" fmla="*/ 2199 h 2817"/>
                      <a:gd name="T12" fmla="*/ 1036 w 2261"/>
                      <a:gd name="T13" fmla="*/ 2371 h 2817"/>
                      <a:gd name="T14" fmla="*/ 889 w 2261"/>
                      <a:gd name="T15" fmla="*/ 2480 h 2817"/>
                      <a:gd name="T16" fmla="*/ 953 w 2261"/>
                      <a:gd name="T17" fmla="*/ 2734 h 2817"/>
                      <a:gd name="T18" fmla="*/ 1043 w 2261"/>
                      <a:gd name="T19" fmla="*/ 2808 h 2817"/>
                      <a:gd name="T20" fmla="*/ 1064 w 2261"/>
                      <a:gd name="T21" fmla="*/ 2701 h 2817"/>
                      <a:gd name="T22" fmla="*/ 1169 w 2261"/>
                      <a:gd name="T23" fmla="*/ 2696 h 2817"/>
                      <a:gd name="T24" fmla="*/ 1277 w 2261"/>
                      <a:gd name="T25" fmla="*/ 2663 h 2817"/>
                      <a:gd name="T26" fmla="*/ 1249 w 2261"/>
                      <a:gd name="T27" fmla="*/ 2527 h 2817"/>
                      <a:gd name="T28" fmla="*/ 1183 w 2261"/>
                      <a:gd name="T29" fmla="*/ 2348 h 2817"/>
                      <a:gd name="T30" fmla="*/ 1263 w 2261"/>
                      <a:gd name="T31" fmla="*/ 2283 h 2817"/>
                      <a:gd name="T32" fmla="*/ 1441 w 2261"/>
                      <a:gd name="T33" fmla="*/ 2237 h 2817"/>
                      <a:gd name="T34" fmla="*/ 1414 w 2261"/>
                      <a:gd name="T35" fmla="*/ 2160 h 2817"/>
                      <a:gd name="T36" fmla="*/ 1391 w 2261"/>
                      <a:gd name="T37" fmla="*/ 2008 h 2817"/>
                      <a:gd name="T38" fmla="*/ 1238 w 2261"/>
                      <a:gd name="T39" fmla="*/ 1909 h 2817"/>
                      <a:gd name="T40" fmla="*/ 1116 w 2261"/>
                      <a:gd name="T41" fmla="*/ 1801 h 2817"/>
                      <a:gd name="T42" fmla="*/ 1377 w 2261"/>
                      <a:gd name="T43" fmla="*/ 1724 h 2817"/>
                      <a:gd name="T44" fmla="*/ 1662 w 2261"/>
                      <a:gd name="T45" fmla="*/ 1787 h 2817"/>
                      <a:gd name="T46" fmla="*/ 1757 w 2261"/>
                      <a:gd name="T47" fmla="*/ 2031 h 2817"/>
                      <a:gd name="T48" fmla="*/ 2170 w 2261"/>
                      <a:gd name="T49" fmla="*/ 2014 h 2817"/>
                      <a:gd name="T50" fmla="*/ 2254 w 2261"/>
                      <a:gd name="T51" fmla="*/ 1946 h 2817"/>
                      <a:gd name="T52" fmla="*/ 2215 w 2261"/>
                      <a:gd name="T53" fmla="*/ 1718 h 2817"/>
                      <a:gd name="T54" fmla="*/ 2122 w 2261"/>
                      <a:gd name="T55" fmla="*/ 1672 h 2817"/>
                      <a:gd name="T56" fmla="*/ 2131 w 2261"/>
                      <a:gd name="T57" fmla="*/ 1503 h 2817"/>
                      <a:gd name="T58" fmla="*/ 2005 w 2261"/>
                      <a:gd name="T59" fmla="*/ 1441 h 2817"/>
                      <a:gd name="T60" fmla="*/ 1923 w 2261"/>
                      <a:gd name="T61" fmla="*/ 1468 h 2817"/>
                      <a:gd name="T62" fmla="*/ 1856 w 2261"/>
                      <a:gd name="T63" fmla="*/ 1458 h 2817"/>
                      <a:gd name="T64" fmla="*/ 1742 w 2261"/>
                      <a:gd name="T65" fmla="*/ 1424 h 2817"/>
                      <a:gd name="T66" fmla="*/ 1686 w 2261"/>
                      <a:gd name="T67" fmla="*/ 1416 h 2817"/>
                      <a:gd name="T68" fmla="*/ 1609 w 2261"/>
                      <a:gd name="T69" fmla="*/ 1372 h 2817"/>
                      <a:gd name="T70" fmla="*/ 1521 w 2261"/>
                      <a:gd name="T71" fmla="*/ 1373 h 2817"/>
                      <a:gd name="T72" fmla="*/ 1467 w 2261"/>
                      <a:gd name="T73" fmla="*/ 1427 h 2817"/>
                      <a:gd name="T74" fmla="*/ 1384 w 2261"/>
                      <a:gd name="T75" fmla="*/ 1402 h 2817"/>
                      <a:gd name="T76" fmla="*/ 1285 w 2261"/>
                      <a:gd name="T77" fmla="*/ 1399 h 2817"/>
                      <a:gd name="T78" fmla="*/ 1230 w 2261"/>
                      <a:gd name="T79" fmla="*/ 1397 h 2817"/>
                      <a:gd name="T80" fmla="*/ 1120 w 2261"/>
                      <a:gd name="T81" fmla="*/ 1424 h 2817"/>
                      <a:gd name="T82" fmla="*/ 983 w 2261"/>
                      <a:gd name="T83" fmla="*/ 1500 h 2817"/>
                      <a:gd name="T84" fmla="*/ 929 w 2261"/>
                      <a:gd name="T85" fmla="*/ 1526 h 2817"/>
                      <a:gd name="T86" fmla="*/ 898 w 2261"/>
                      <a:gd name="T87" fmla="*/ 1374 h 2817"/>
                      <a:gd name="T88" fmla="*/ 955 w 2261"/>
                      <a:gd name="T89" fmla="*/ 1106 h 2817"/>
                      <a:gd name="T90" fmla="*/ 953 w 2261"/>
                      <a:gd name="T91" fmla="*/ 872 h 2817"/>
                      <a:gd name="T92" fmla="*/ 1074 w 2261"/>
                      <a:gd name="T93" fmla="*/ 732 h 2817"/>
                      <a:gd name="T94" fmla="*/ 1117 w 2261"/>
                      <a:gd name="T95" fmla="*/ 561 h 2817"/>
                      <a:gd name="T96" fmla="*/ 1136 w 2261"/>
                      <a:gd name="T97" fmla="*/ 358 h 2817"/>
                      <a:gd name="T98" fmla="*/ 1127 w 2261"/>
                      <a:gd name="T99" fmla="*/ 176 h 2817"/>
                      <a:gd name="T100" fmla="*/ 1106 w 2261"/>
                      <a:gd name="T101" fmla="*/ 102 h 2817"/>
                      <a:gd name="T102" fmla="*/ 983 w 2261"/>
                      <a:gd name="T103" fmla="*/ 144 h 2817"/>
                      <a:gd name="T104" fmla="*/ 813 w 2261"/>
                      <a:gd name="T105" fmla="*/ 63 h 2817"/>
                      <a:gd name="T106" fmla="*/ 715 w 2261"/>
                      <a:gd name="T107" fmla="*/ 2 h 2817"/>
                      <a:gd name="T108" fmla="*/ 557 w 2261"/>
                      <a:gd name="T109" fmla="*/ 100 h 2817"/>
                      <a:gd name="T110" fmla="*/ 385 w 2261"/>
                      <a:gd name="T111" fmla="*/ 463 h 2817"/>
                      <a:gd name="T112" fmla="*/ 180 w 2261"/>
                      <a:gd name="T113" fmla="*/ 627 h 2817"/>
                      <a:gd name="T114" fmla="*/ 148 w 2261"/>
                      <a:gd name="T115" fmla="*/ 882 h 2817"/>
                      <a:gd name="T116" fmla="*/ 106 w 2261"/>
                      <a:gd name="T117" fmla="*/ 1192 h 2817"/>
                      <a:gd name="T118" fmla="*/ 129 w 2261"/>
                      <a:gd name="T119" fmla="*/ 1371 h 2817"/>
                      <a:gd name="T120" fmla="*/ 2 w 2261"/>
                      <a:gd name="T121" fmla="*/ 1752 h 2817"/>
                      <a:gd name="T122" fmla="*/ 205 w 2261"/>
                      <a:gd name="T123" fmla="*/ 1911 h 2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1" h="2817">
                        <a:moveTo>
                          <a:pt x="211" y="1945"/>
                        </a:moveTo>
                        <a:cubicBezTo>
                          <a:pt x="214" y="1940"/>
                          <a:pt x="218" y="1928"/>
                          <a:pt x="229" y="1932"/>
                        </a:cubicBezTo>
                        <a:cubicBezTo>
                          <a:pt x="239" y="1936"/>
                          <a:pt x="242" y="1961"/>
                          <a:pt x="279" y="1972"/>
                        </a:cubicBezTo>
                        <a:cubicBezTo>
                          <a:pt x="317" y="1982"/>
                          <a:pt x="342" y="1989"/>
                          <a:pt x="342" y="1997"/>
                        </a:cubicBezTo>
                        <a:cubicBezTo>
                          <a:pt x="342" y="2005"/>
                          <a:pt x="362" y="2020"/>
                          <a:pt x="378" y="2030"/>
                        </a:cubicBezTo>
                        <a:cubicBezTo>
                          <a:pt x="394" y="2041"/>
                          <a:pt x="406" y="2056"/>
                          <a:pt x="406" y="2056"/>
                        </a:cubicBezTo>
                        <a:cubicBezTo>
                          <a:pt x="550" y="2049"/>
                          <a:pt x="550" y="2049"/>
                          <a:pt x="550" y="2049"/>
                        </a:cubicBezTo>
                        <a:cubicBezTo>
                          <a:pt x="550" y="2049"/>
                          <a:pt x="553" y="2028"/>
                          <a:pt x="598" y="2029"/>
                        </a:cubicBezTo>
                        <a:cubicBezTo>
                          <a:pt x="643" y="2030"/>
                          <a:pt x="631" y="2042"/>
                          <a:pt x="631" y="2042"/>
                        </a:cubicBezTo>
                        <a:cubicBezTo>
                          <a:pt x="631" y="2042"/>
                          <a:pt x="686" y="2027"/>
                          <a:pt x="700" y="2045"/>
                        </a:cubicBezTo>
                        <a:cubicBezTo>
                          <a:pt x="714" y="2063"/>
                          <a:pt x="725" y="2074"/>
                          <a:pt x="742" y="2088"/>
                        </a:cubicBezTo>
                        <a:cubicBezTo>
                          <a:pt x="759" y="2102"/>
                          <a:pt x="811" y="2168"/>
                          <a:pt x="827" y="2166"/>
                        </a:cubicBezTo>
                        <a:cubicBezTo>
                          <a:pt x="843" y="2164"/>
                          <a:pt x="888" y="2166"/>
                          <a:pt x="888" y="2166"/>
                        </a:cubicBezTo>
                        <a:cubicBezTo>
                          <a:pt x="888" y="2166"/>
                          <a:pt x="921" y="2200"/>
                          <a:pt x="947" y="2190"/>
                        </a:cubicBezTo>
                        <a:cubicBezTo>
                          <a:pt x="974" y="2180"/>
                          <a:pt x="982" y="2178"/>
                          <a:pt x="988" y="2172"/>
                        </a:cubicBezTo>
                        <a:cubicBezTo>
                          <a:pt x="994" y="2167"/>
                          <a:pt x="1015" y="2136"/>
                          <a:pt x="1031" y="2134"/>
                        </a:cubicBezTo>
                        <a:cubicBezTo>
                          <a:pt x="1048" y="2131"/>
                          <a:pt x="1077" y="2116"/>
                          <a:pt x="1085" y="2128"/>
                        </a:cubicBezTo>
                        <a:cubicBezTo>
                          <a:pt x="1093" y="2140"/>
                          <a:pt x="1103" y="2189"/>
                          <a:pt x="1101" y="2199"/>
                        </a:cubicBezTo>
                        <a:cubicBezTo>
                          <a:pt x="1099" y="2209"/>
                          <a:pt x="1087" y="2238"/>
                          <a:pt x="1086" y="2252"/>
                        </a:cubicBezTo>
                        <a:cubicBezTo>
                          <a:pt x="1085" y="2266"/>
                          <a:pt x="1091" y="2298"/>
                          <a:pt x="1082" y="2308"/>
                        </a:cubicBezTo>
                        <a:cubicBezTo>
                          <a:pt x="1073" y="2318"/>
                          <a:pt x="1053" y="2362"/>
                          <a:pt x="1036" y="2371"/>
                        </a:cubicBezTo>
                        <a:cubicBezTo>
                          <a:pt x="1019" y="2380"/>
                          <a:pt x="1009" y="2398"/>
                          <a:pt x="995" y="2400"/>
                        </a:cubicBezTo>
                        <a:cubicBezTo>
                          <a:pt x="980" y="2401"/>
                          <a:pt x="934" y="2414"/>
                          <a:pt x="921" y="2437"/>
                        </a:cubicBezTo>
                        <a:cubicBezTo>
                          <a:pt x="907" y="2460"/>
                          <a:pt x="893" y="2475"/>
                          <a:pt x="889" y="2480"/>
                        </a:cubicBezTo>
                        <a:cubicBezTo>
                          <a:pt x="886" y="2486"/>
                          <a:pt x="877" y="2595"/>
                          <a:pt x="886" y="2617"/>
                        </a:cubicBezTo>
                        <a:cubicBezTo>
                          <a:pt x="895" y="2639"/>
                          <a:pt x="892" y="2658"/>
                          <a:pt x="899" y="2661"/>
                        </a:cubicBezTo>
                        <a:cubicBezTo>
                          <a:pt x="907" y="2664"/>
                          <a:pt x="953" y="2712"/>
                          <a:pt x="953" y="2734"/>
                        </a:cubicBezTo>
                        <a:cubicBezTo>
                          <a:pt x="953" y="2756"/>
                          <a:pt x="942" y="2766"/>
                          <a:pt x="943" y="2774"/>
                        </a:cubicBezTo>
                        <a:cubicBezTo>
                          <a:pt x="943" y="2782"/>
                          <a:pt x="977" y="2808"/>
                          <a:pt x="996" y="2808"/>
                        </a:cubicBezTo>
                        <a:cubicBezTo>
                          <a:pt x="1015" y="2808"/>
                          <a:pt x="1037" y="2814"/>
                          <a:pt x="1043" y="2808"/>
                        </a:cubicBezTo>
                        <a:cubicBezTo>
                          <a:pt x="1048" y="2803"/>
                          <a:pt x="1047" y="2787"/>
                          <a:pt x="1051" y="2787"/>
                        </a:cubicBezTo>
                        <a:cubicBezTo>
                          <a:pt x="1055" y="2787"/>
                          <a:pt x="1063" y="2817"/>
                          <a:pt x="1064" y="2788"/>
                        </a:cubicBezTo>
                        <a:cubicBezTo>
                          <a:pt x="1065" y="2758"/>
                          <a:pt x="1053" y="2713"/>
                          <a:pt x="1064" y="2701"/>
                        </a:cubicBezTo>
                        <a:cubicBezTo>
                          <a:pt x="1075" y="2689"/>
                          <a:pt x="1095" y="2664"/>
                          <a:pt x="1097" y="2666"/>
                        </a:cubicBezTo>
                        <a:cubicBezTo>
                          <a:pt x="1099" y="2667"/>
                          <a:pt x="1124" y="2672"/>
                          <a:pt x="1134" y="2680"/>
                        </a:cubicBezTo>
                        <a:cubicBezTo>
                          <a:pt x="1144" y="2687"/>
                          <a:pt x="1163" y="2696"/>
                          <a:pt x="1169" y="2696"/>
                        </a:cubicBezTo>
                        <a:cubicBezTo>
                          <a:pt x="1174" y="2696"/>
                          <a:pt x="1247" y="2700"/>
                          <a:pt x="1249" y="2690"/>
                        </a:cubicBezTo>
                        <a:cubicBezTo>
                          <a:pt x="1251" y="2680"/>
                          <a:pt x="1261" y="2671"/>
                          <a:pt x="1264" y="2670"/>
                        </a:cubicBezTo>
                        <a:cubicBezTo>
                          <a:pt x="1267" y="2670"/>
                          <a:pt x="1270" y="2672"/>
                          <a:pt x="1277" y="2663"/>
                        </a:cubicBezTo>
                        <a:cubicBezTo>
                          <a:pt x="1283" y="2654"/>
                          <a:pt x="1289" y="2656"/>
                          <a:pt x="1285" y="2635"/>
                        </a:cubicBezTo>
                        <a:cubicBezTo>
                          <a:pt x="1282" y="2614"/>
                          <a:pt x="1256" y="2582"/>
                          <a:pt x="1256" y="2582"/>
                        </a:cubicBezTo>
                        <a:cubicBezTo>
                          <a:pt x="1249" y="2527"/>
                          <a:pt x="1249" y="2527"/>
                          <a:pt x="1249" y="2527"/>
                        </a:cubicBezTo>
                        <a:cubicBezTo>
                          <a:pt x="1203" y="2515"/>
                          <a:pt x="1203" y="2515"/>
                          <a:pt x="1203" y="2515"/>
                        </a:cubicBezTo>
                        <a:cubicBezTo>
                          <a:pt x="1206" y="2374"/>
                          <a:pt x="1206" y="2374"/>
                          <a:pt x="1206" y="2374"/>
                        </a:cubicBezTo>
                        <a:cubicBezTo>
                          <a:pt x="1206" y="2374"/>
                          <a:pt x="1187" y="2370"/>
                          <a:pt x="1183" y="2348"/>
                        </a:cubicBezTo>
                        <a:cubicBezTo>
                          <a:pt x="1179" y="2325"/>
                          <a:pt x="1170" y="2304"/>
                          <a:pt x="1172" y="2292"/>
                        </a:cubicBezTo>
                        <a:cubicBezTo>
                          <a:pt x="1174" y="2279"/>
                          <a:pt x="1179" y="2256"/>
                          <a:pt x="1196" y="2262"/>
                        </a:cubicBezTo>
                        <a:cubicBezTo>
                          <a:pt x="1213" y="2267"/>
                          <a:pt x="1240" y="2281"/>
                          <a:pt x="1263" y="2283"/>
                        </a:cubicBezTo>
                        <a:cubicBezTo>
                          <a:pt x="1285" y="2285"/>
                          <a:pt x="1315" y="2290"/>
                          <a:pt x="1337" y="2276"/>
                        </a:cubicBezTo>
                        <a:cubicBezTo>
                          <a:pt x="1358" y="2263"/>
                          <a:pt x="1378" y="2246"/>
                          <a:pt x="1397" y="2247"/>
                        </a:cubicBezTo>
                        <a:cubicBezTo>
                          <a:pt x="1415" y="2248"/>
                          <a:pt x="1433" y="2246"/>
                          <a:pt x="1441" y="2237"/>
                        </a:cubicBezTo>
                        <a:cubicBezTo>
                          <a:pt x="1450" y="2228"/>
                          <a:pt x="1475" y="2212"/>
                          <a:pt x="1468" y="2200"/>
                        </a:cubicBezTo>
                        <a:cubicBezTo>
                          <a:pt x="1461" y="2188"/>
                          <a:pt x="1414" y="2177"/>
                          <a:pt x="1413" y="2175"/>
                        </a:cubicBezTo>
                        <a:cubicBezTo>
                          <a:pt x="1411" y="2173"/>
                          <a:pt x="1416" y="2160"/>
                          <a:pt x="1414" y="2160"/>
                        </a:cubicBezTo>
                        <a:cubicBezTo>
                          <a:pt x="1412" y="2160"/>
                          <a:pt x="1361" y="2154"/>
                          <a:pt x="1379" y="2138"/>
                        </a:cubicBezTo>
                        <a:cubicBezTo>
                          <a:pt x="1398" y="2122"/>
                          <a:pt x="1413" y="2091"/>
                          <a:pt x="1413" y="2082"/>
                        </a:cubicBezTo>
                        <a:cubicBezTo>
                          <a:pt x="1413" y="2074"/>
                          <a:pt x="1392" y="2037"/>
                          <a:pt x="1391" y="2008"/>
                        </a:cubicBezTo>
                        <a:cubicBezTo>
                          <a:pt x="1391" y="1980"/>
                          <a:pt x="1377" y="1970"/>
                          <a:pt x="1367" y="1961"/>
                        </a:cubicBezTo>
                        <a:cubicBezTo>
                          <a:pt x="1356" y="1952"/>
                          <a:pt x="1279" y="1955"/>
                          <a:pt x="1279" y="1955"/>
                        </a:cubicBezTo>
                        <a:cubicBezTo>
                          <a:pt x="1279" y="1955"/>
                          <a:pt x="1247" y="1909"/>
                          <a:pt x="1238" y="1909"/>
                        </a:cubicBezTo>
                        <a:cubicBezTo>
                          <a:pt x="1229" y="1909"/>
                          <a:pt x="1205" y="1902"/>
                          <a:pt x="1199" y="1898"/>
                        </a:cubicBezTo>
                        <a:cubicBezTo>
                          <a:pt x="1193" y="1894"/>
                          <a:pt x="1114" y="1884"/>
                          <a:pt x="1114" y="1846"/>
                        </a:cubicBezTo>
                        <a:cubicBezTo>
                          <a:pt x="1114" y="1808"/>
                          <a:pt x="1111" y="1802"/>
                          <a:pt x="1116" y="1801"/>
                        </a:cubicBezTo>
                        <a:cubicBezTo>
                          <a:pt x="1121" y="1800"/>
                          <a:pt x="1214" y="1757"/>
                          <a:pt x="1233" y="1752"/>
                        </a:cubicBezTo>
                        <a:cubicBezTo>
                          <a:pt x="1251" y="1748"/>
                          <a:pt x="1286" y="1748"/>
                          <a:pt x="1305" y="1746"/>
                        </a:cubicBezTo>
                        <a:cubicBezTo>
                          <a:pt x="1323" y="1743"/>
                          <a:pt x="1344" y="1723"/>
                          <a:pt x="1377" y="1724"/>
                        </a:cubicBezTo>
                        <a:cubicBezTo>
                          <a:pt x="1409" y="1726"/>
                          <a:pt x="1469" y="1719"/>
                          <a:pt x="1474" y="1718"/>
                        </a:cubicBezTo>
                        <a:cubicBezTo>
                          <a:pt x="1479" y="1716"/>
                          <a:pt x="1575" y="1717"/>
                          <a:pt x="1575" y="1717"/>
                        </a:cubicBezTo>
                        <a:cubicBezTo>
                          <a:pt x="1575" y="1717"/>
                          <a:pt x="1659" y="1752"/>
                          <a:pt x="1662" y="1787"/>
                        </a:cubicBezTo>
                        <a:cubicBezTo>
                          <a:pt x="1665" y="1822"/>
                          <a:pt x="1673" y="1904"/>
                          <a:pt x="1687" y="1931"/>
                        </a:cubicBezTo>
                        <a:cubicBezTo>
                          <a:pt x="1701" y="1958"/>
                          <a:pt x="1717" y="2007"/>
                          <a:pt x="1728" y="2017"/>
                        </a:cubicBezTo>
                        <a:cubicBezTo>
                          <a:pt x="1739" y="2027"/>
                          <a:pt x="1748" y="2024"/>
                          <a:pt x="1757" y="2031"/>
                        </a:cubicBezTo>
                        <a:cubicBezTo>
                          <a:pt x="1767" y="2038"/>
                          <a:pt x="1827" y="2055"/>
                          <a:pt x="1827" y="2055"/>
                        </a:cubicBezTo>
                        <a:cubicBezTo>
                          <a:pt x="1827" y="2055"/>
                          <a:pt x="2055" y="2050"/>
                          <a:pt x="2072" y="2048"/>
                        </a:cubicBezTo>
                        <a:cubicBezTo>
                          <a:pt x="2089" y="2047"/>
                          <a:pt x="2145" y="2033"/>
                          <a:pt x="2170" y="2014"/>
                        </a:cubicBezTo>
                        <a:cubicBezTo>
                          <a:pt x="2195" y="1996"/>
                          <a:pt x="2188" y="1978"/>
                          <a:pt x="2201" y="1976"/>
                        </a:cubicBezTo>
                        <a:cubicBezTo>
                          <a:pt x="2215" y="1975"/>
                          <a:pt x="2241" y="1950"/>
                          <a:pt x="2244" y="1948"/>
                        </a:cubicBezTo>
                        <a:cubicBezTo>
                          <a:pt x="2245" y="1948"/>
                          <a:pt x="2249" y="1947"/>
                          <a:pt x="2254" y="1946"/>
                        </a:cubicBezTo>
                        <a:cubicBezTo>
                          <a:pt x="2249" y="1929"/>
                          <a:pt x="2245" y="1910"/>
                          <a:pt x="2248" y="1896"/>
                        </a:cubicBezTo>
                        <a:cubicBezTo>
                          <a:pt x="2254" y="1868"/>
                          <a:pt x="2261" y="1826"/>
                          <a:pt x="2259" y="1818"/>
                        </a:cubicBezTo>
                        <a:cubicBezTo>
                          <a:pt x="2257" y="1810"/>
                          <a:pt x="2229" y="1724"/>
                          <a:pt x="2215" y="1718"/>
                        </a:cubicBezTo>
                        <a:cubicBezTo>
                          <a:pt x="2202" y="1713"/>
                          <a:pt x="2187" y="1702"/>
                          <a:pt x="2182" y="1702"/>
                        </a:cubicBezTo>
                        <a:cubicBezTo>
                          <a:pt x="2177" y="1702"/>
                          <a:pt x="2154" y="1702"/>
                          <a:pt x="2154" y="1702"/>
                        </a:cubicBezTo>
                        <a:cubicBezTo>
                          <a:pt x="2122" y="1672"/>
                          <a:pt x="2122" y="1672"/>
                          <a:pt x="2122" y="1672"/>
                        </a:cubicBezTo>
                        <a:cubicBezTo>
                          <a:pt x="2125" y="1636"/>
                          <a:pt x="2125" y="1636"/>
                          <a:pt x="2125" y="1636"/>
                        </a:cubicBezTo>
                        <a:cubicBezTo>
                          <a:pt x="2125" y="1636"/>
                          <a:pt x="2167" y="1589"/>
                          <a:pt x="2158" y="1562"/>
                        </a:cubicBezTo>
                        <a:cubicBezTo>
                          <a:pt x="2149" y="1536"/>
                          <a:pt x="2135" y="1510"/>
                          <a:pt x="2131" y="1503"/>
                        </a:cubicBezTo>
                        <a:cubicBezTo>
                          <a:pt x="2126" y="1496"/>
                          <a:pt x="2119" y="1476"/>
                          <a:pt x="2117" y="1474"/>
                        </a:cubicBezTo>
                        <a:cubicBezTo>
                          <a:pt x="2115" y="1471"/>
                          <a:pt x="2101" y="1458"/>
                          <a:pt x="2079" y="1452"/>
                        </a:cubicBezTo>
                        <a:cubicBezTo>
                          <a:pt x="2058" y="1446"/>
                          <a:pt x="2005" y="1441"/>
                          <a:pt x="2005" y="1441"/>
                        </a:cubicBezTo>
                        <a:cubicBezTo>
                          <a:pt x="2005" y="1441"/>
                          <a:pt x="1970" y="1470"/>
                          <a:pt x="1967" y="1470"/>
                        </a:cubicBezTo>
                        <a:cubicBezTo>
                          <a:pt x="1965" y="1469"/>
                          <a:pt x="1952" y="1457"/>
                          <a:pt x="1952" y="1457"/>
                        </a:cubicBezTo>
                        <a:cubicBezTo>
                          <a:pt x="1952" y="1457"/>
                          <a:pt x="1927" y="1469"/>
                          <a:pt x="1923" y="1468"/>
                        </a:cubicBezTo>
                        <a:cubicBezTo>
                          <a:pt x="1920" y="1468"/>
                          <a:pt x="1903" y="1455"/>
                          <a:pt x="1903" y="1455"/>
                        </a:cubicBezTo>
                        <a:cubicBezTo>
                          <a:pt x="1903" y="1455"/>
                          <a:pt x="1899" y="1469"/>
                          <a:pt x="1895" y="1468"/>
                        </a:cubicBezTo>
                        <a:cubicBezTo>
                          <a:pt x="1890" y="1468"/>
                          <a:pt x="1860" y="1458"/>
                          <a:pt x="1856" y="1458"/>
                        </a:cubicBezTo>
                        <a:cubicBezTo>
                          <a:pt x="1852" y="1458"/>
                          <a:pt x="1814" y="1494"/>
                          <a:pt x="1811" y="1493"/>
                        </a:cubicBezTo>
                        <a:cubicBezTo>
                          <a:pt x="1809" y="1492"/>
                          <a:pt x="1782" y="1456"/>
                          <a:pt x="1770" y="1448"/>
                        </a:cubicBezTo>
                        <a:cubicBezTo>
                          <a:pt x="1758" y="1440"/>
                          <a:pt x="1742" y="1424"/>
                          <a:pt x="1742" y="1424"/>
                        </a:cubicBezTo>
                        <a:cubicBezTo>
                          <a:pt x="1717" y="1423"/>
                          <a:pt x="1717" y="1423"/>
                          <a:pt x="1717" y="1423"/>
                        </a:cubicBezTo>
                        <a:cubicBezTo>
                          <a:pt x="1707" y="1445"/>
                          <a:pt x="1707" y="1445"/>
                          <a:pt x="1707" y="1445"/>
                        </a:cubicBezTo>
                        <a:cubicBezTo>
                          <a:pt x="1707" y="1445"/>
                          <a:pt x="1687" y="1432"/>
                          <a:pt x="1686" y="1416"/>
                        </a:cubicBezTo>
                        <a:cubicBezTo>
                          <a:pt x="1685" y="1400"/>
                          <a:pt x="1683" y="1387"/>
                          <a:pt x="1675" y="1382"/>
                        </a:cubicBezTo>
                        <a:cubicBezTo>
                          <a:pt x="1666" y="1378"/>
                          <a:pt x="1647" y="1362"/>
                          <a:pt x="1647" y="1362"/>
                        </a:cubicBezTo>
                        <a:cubicBezTo>
                          <a:pt x="1609" y="1372"/>
                          <a:pt x="1609" y="1372"/>
                          <a:pt x="1609" y="1372"/>
                        </a:cubicBezTo>
                        <a:cubicBezTo>
                          <a:pt x="1609" y="1372"/>
                          <a:pt x="1584" y="1387"/>
                          <a:pt x="1581" y="1383"/>
                        </a:cubicBezTo>
                        <a:cubicBezTo>
                          <a:pt x="1579" y="1379"/>
                          <a:pt x="1571" y="1372"/>
                          <a:pt x="1558" y="1368"/>
                        </a:cubicBezTo>
                        <a:cubicBezTo>
                          <a:pt x="1545" y="1365"/>
                          <a:pt x="1520" y="1364"/>
                          <a:pt x="1521" y="1373"/>
                        </a:cubicBezTo>
                        <a:cubicBezTo>
                          <a:pt x="1521" y="1382"/>
                          <a:pt x="1530" y="1384"/>
                          <a:pt x="1526" y="1392"/>
                        </a:cubicBezTo>
                        <a:cubicBezTo>
                          <a:pt x="1522" y="1401"/>
                          <a:pt x="1511" y="1406"/>
                          <a:pt x="1507" y="1406"/>
                        </a:cubicBezTo>
                        <a:cubicBezTo>
                          <a:pt x="1503" y="1406"/>
                          <a:pt x="1471" y="1427"/>
                          <a:pt x="1467" y="1427"/>
                        </a:cubicBezTo>
                        <a:cubicBezTo>
                          <a:pt x="1462" y="1427"/>
                          <a:pt x="1436" y="1416"/>
                          <a:pt x="1436" y="1416"/>
                        </a:cubicBezTo>
                        <a:cubicBezTo>
                          <a:pt x="1436" y="1416"/>
                          <a:pt x="1421" y="1426"/>
                          <a:pt x="1410" y="1426"/>
                        </a:cubicBezTo>
                        <a:cubicBezTo>
                          <a:pt x="1399" y="1426"/>
                          <a:pt x="1385" y="1409"/>
                          <a:pt x="1384" y="1402"/>
                        </a:cubicBezTo>
                        <a:cubicBezTo>
                          <a:pt x="1383" y="1396"/>
                          <a:pt x="1375" y="1390"/>
                          <a:pt x="1355" y="1390"/>
                        </a:cubicBezTo>
                        <a:cubicBezTo>
                          <a:pt x="1335" y="1390"/>
                          <a:pt x="1310" y="1416"/>
                          <a:pt x="1299" y="1413"/>
                        </a:cubicBezTo>
                        <a:cubicBezTo>
                          <a:pt x="1287" y="1410"/>
                          <a:pt x="1285" y="1405"/>
                          <a:pt x="1285" y="1399"/>
                        </a:cubicBezTo>
                        <a:cubicBezTo>
                          <a:pt x="1285" y="1393"/>
                          <a:pt x="1285" y="1376"/>
                          <a:pt x="1280" y="1377"/>
                        </a:cubicBezTo>
                        <a:cubicBezTo>
                          <a:pt x="1275" y="1378"/>
                          <a:pt x="1267" y="1376"/>
                          <a:pt x="1261" y="1385"/>
                        </a:cubicBezTo>
                        <a:cubicBezTo>
                          <a:pt x="1255" y="1394"/>
                          <a:pt x="1238" y="1406"/>
                          <a:pt x="1230" y="1397"/>
                        </a:cubicBezTo>
                        <a:cubicBezTo>
                          <a:pt x="1222" y="1388"/>
                          <a:pt x="1225" y="1372"/>
                          <a:pt x="1217" y="1372"/>
                        </a:cubicBezTo>
                        <a:cubicBezTo>
                          <a:pt x="1208" y="1372"/>
                          <a:pt x="1204" y="1381"/>
                          <a:pt x="1193" y="1383"/>
                        </a:cubicBezTo>
                        <a:cubicBezTo>
                          <a:pt x="1183" y="1385"/>
                          <a:pt x="1120" y="1424"/>
                          <a:pt x="1120" y="1424"/>
                        </a:cubicBezTo>
                        <a:cubicBezTo>
                          <a:pt x="1120" y="1424"/>
                          <a:pt x="1093" y="1428"/>
                          <a:pt x="1069" y="1435"/>
                        </a:cubicBezTo>
                        <a:cubicBezTo>
                          <a:pt x="1045" y="1442"/>
                          <a:pt x="1025" y="1438"/>
                          <a:pt x="1013" y="1452"/>
                        </a:cubicBezTo>
                        <a:cubicBezTo>
                          <a:pt x="1002" y="1465"/>
                          <a:pt x="986" y="1499"/>
                          <a:pt x="983" y="1500"/>
                        </a:cubicBezTo>
                        <a:cubicBezTo>
                          <a:pt x="979" y="1500"/>
                          <a:pt x="963" y="1510"/>
                          <a:pt x="962" y="1514"/>
                        </a:cubicBezTo>
                        <a:cubicBezTo>
                          <a:pt x="961" y="1518"/>
                          <a:pt x="950" y="1540"/>
                          <a:pt x="950" y="1540"/>
                        </a:cubicBezTo>
                        <a:cubicBezTo>
                          <a:pt x="950" y="1540"/>
                          <a:pt x="939" y="1526"/>
                          <a:pt x="929" y="1526"/>
                        </a:cubicBezTo>
                        <a:cubicBezTo>
                          <a:pt x="920" y="1526"/>
                          <a:pt x="878" y="1510"/>
                          <a:pt x="875" y="1496"/>
                        </a:cubicBezTo>
                        <a:cubicBezTo>
                          <a:pt x="873" y="1483"/>
                          <a:pt x="849" y="1478"/>
                          <a:pt x="864" y="1454"/>
                        </a:cubicBezTo>
                        <a:cubicBezTo>
                          <a:pt x="879" y="1430"/>
                          <a:pt x="897" y="1386"/>
                          <a:pt x="898" y="1374"/>
                        </a:cubicBezTo>
                        <a:cubicBezTo>
                          <a:pt x="899" y="1361"/>
                          <a:pt x="905" y="1260"/>
                          <a:pt x="920" y="1234"/>
                        </a:cubicBezTo>
                        <a:cubicBezTo>
                          <a:pt x="935" y="1208"/>
                          <a:pt x="945" y="1190"/>
                          <a:pt x="948" y="1175"/>
                        </a:cubicBezTo>
                        <a:cubicBezTo>
                          <a:pt x="950" y="1166"/>
                          <a:pt x="953" y="1133"/>
                          <a:pt x="955" y="1106"/>
                        </a:cubicBezTo>
                        <a:cubicBezTo>
                          <a:pt x="957" y="1088"/>
                          <a:pt x="957" y="1073"/>
                          <a:pt x="956" y="1070"/>
                        </a:cubicBezTo>
                        <a:cubicBezTo>
                          <a:pt x="953" y="1061"/>
                          <a:pt x="943" y="1048"/>
                          <a:pt x="943" y="1043"/>
                        </a:cubicBezTo>
                        <a:cubicBezTo>
                          <a:pt x="942" y="1038"/>
                          <a:pt x="955" y="873"/>
                          <a:pt x="953" y="872"/>
                        </a:cubicBezTo>
                        <a:cubicBezTo>
                          <a:pt x="951" y="872"/>
                          <a:pt x="942" y="842"/>
                          <a:pt x="944" y="822"/>
                        </a:cubicBezTo>
                        <a:cubicBezTo>
                          <a:pt x="946" y="801"/>
                          <a:pt x="989" y="764"/>
                          <a:pt x="1007" y="758"/>
                        </a:cubicBezTo>
                        <a:cubicBezTo>
                          <a:pt x="1024" y="753"/>
                          <a:pt x="1059" y="728"/>
                          <a:pt x="1074" y="732"/>
                        </a:cubicBezTo>
                        <a:cubicBezTo>
                          <a:pt x="1089" y="737"/>
                          <a:pt x="1127" y="779"/>
                          <a:pt x="1136" y="764"/>
                        </a:cubicBezTo>
                        <a:cubicBezTo>
                          <a:pt x="1145" y="750"/>
                          <a:pt x="1141" y="608"/>
                          <a:pt x="1140" y="603"/>
                        </a:cubicBezTo>
                        <a:cubicBezTo>
                          <a:pt x="1139" y="598"/>
                          <a:pt x="1117" y="561"/>
                          <a:pt x="1117" y="561"/>
                        </a:cubicBezTo>
                        <a:cubicBezTo>
                          <a:pt x="1117" y="561"/>
                          <a:pt x="1109" y="520"/>
                          <a:pt x="1126" y="501"/>
                        </a:cubicBezTo>
                        <a:cubicBezTo>
                          <a:pt x="1143" y="482"/>
                          <a:pt x="1149" y="433"/>
                          <a:pt x="1147" y="426"/>
                        </a:cubicBezTo>
                        <a:cubicBezTo>
                          <a:pt x="1144" y="420"/>
                          <a:pt x="1139" y="362"/>
                          <a:pt x="1136" y="358"/>
                        </a:cubicBezTo>
                        <a:cubicBezTo>
                          <a:pt x="1133" y="354"/>
                          <a:pt x="1081" y="321"/>
                          <a:pt x="1091" y="290"/>
                        </a:cubicBezTo>
                        <a:cubicBezTo>
                          <a:pt x="1101" y="260"/>
                          <a:pt x="1125" y="224"/>
                          <a:pt x="1127" y="221"/>
                        </a:cubicBezTo>
                        <a:cubicBezTo>
                          <a:pt x="1129" y="218"/>
                          <a:pt x="1112" y="191"/>
                          <a:pt x="1127" y="176"/>
                        </a:cubicBezTo>
                        <a:cubicBezTo>
                          <a:pt x="1141" y="160"/>
                          <a:pt x="1161" y="152"/>
                          <a:pt x="1157" y="134"/>
                        </a:cubicBezTo>
                        <a:cubicBezTo>
                          <a:pt x="1153" y="115"/>
                          <a:pt x="1136" y="95"/>
                          <a:pt x="1133" y="95"/>
                        </a:cubicBezTo>
                        <a:cubicBezTo>
                          <a:pt x="1129" y="95"/>
                          <a:pt x="1117" y="94"/>
                          <a:pt x="1106" y="102"/>
                        </a:cubicBezTo>
                        <a:cubicBezTo>
                          <a:pt x="1095" y="111"/>
                          <a:pt x="1080" y="153"/>
                          <a:pt x="1067" y="164"/>
                        </a:cubicBezTo>
                        <a:cubicBezTo>
                          <a:pt x="1053" y="174"/>
                          <a:pt x="1038" y="176"/>
                          <a:pt x="1030" y="176"/>
                        </a:cubicBezTo>
                        <a:cubicBezTo>
                          <a:pt x="1022" y="176"/>
                          <a:pt x="1001" y="148"/>
                          <a:pt x="983" y="144"/>
                        </a:cubicBezTo>
                        <a:cubicBezTo>
                          <a:pt x="964" y="140"/>
                          <a:pt x="948" y="117"/>
                          <a:pt x="931" y="117"/>
                        </a:cubicBezTo>
                        <a:cubicBezTo>
                          <a:pt x="913" y="117"/>
                          <a:pt x="851" y="104"/>
                          <a:pt x="851" y="104"/>
                        </a:cubicBezTo>
                        <a:cubicBezTo>
                          <a:pt x="851" y="104"/>
                          <a:pt x="822" y="76"/>
                          <a:pt x="813" y="63"/>
                        </a:cubicBezTo>
                        <a:cubicBezTo>
                          <a:pt x="803" y="50"/>
                          <a:pt x="801" y="44"/>
                          <a:pt x="785" y="43"/>
                        </a:cubicBezTo>
                        <a:cubicBezTo>
                          <a:pt x="769" y="42"/>
                          <a:pt x="753" y="23"/>
                          <a:pt x="741" y="16"/>
                        </a:cubicBezTo>
                        <a:cubicBezTo>
                          <a:pt x="729" y="8"/>
                          <a:pt x="715" y="0"/>
                          <a:pt x="715" y="2"/>
                        </a:cubicBezTo>
                        <a:cubicBezTo>
                          <a:pt x="715" y="4"/>
                          <a:pt x="704" y="13"/>
                          <a:pt x="704" y="13"/>
                        </a:cubicBezTo>
                        <a:cubicBezTo>
                          <a:pt x="556" y="17"/>
                          <a:pt x="556" y="17"/>
                          <a:pt x="556" y="17"/>
                        </a:cubicBezTo>
                        <a:cubicBezTo>
                          <a:pt x="557" y="56"/>
                          <a:pt x="557" y="89"/>
                          <a:pt x="557" y="100"/>
                        </a:cubicBezTo>
                        <a:cubicBezTo>
                          <a:pt x="556" y="138"/>
                          <a:pt x="551" y="183"/>
                          <a:pt x="537" y="210"/>
                        </a:cubicBezTo>
                        <a:cubicBezTo>
                          <a:pt x="523" y="237"/>
                          <a:pt x="478" y="320"/>
                          <a:pt x="458" y="341"/>
                        </a:cubicBezTo>
                        <a:cubicBezTo>
                          <a:pt x="438" y="362"/>
                          <a:pt x="387" y="455"/>
                          <a:pt x="385" y="463"/>
                        </a:cubicBezTo>
                        <a:cubicBezTo>
                          <a:pt x="383" y="471"/>
                          <a:pt x="367" y="477"/>
                          <a:pt x="346" y="489"/>
                        </a:cubicBezTo>
                        <a:cubicBezTo>
                          <a:pt x="325" y="501"/>
                          <a:pt x="217" y="587"/>
                          <a:pt x="207" y="594"/>
                        </a:cubicBezTo>
                        <a:cubicBezTo>
                          <a:pt x="197" y="601"/>
                          <a:pt x="186" y="610"/>
                          <a:pt x="180" y="627"/>
                        </a:cubicBezTo>
                        <a:cubicBezTo>
                          <a:pt x="174" y="644"/>
                          <a:pt x="130" y="666"/>
                          <a:pt x="130" y="666"/>
                        </a:cubicBezTo>
                        <a:cubicBezTo>
                          <a:pt x="134" y="865"/>
                          <a:pt x="134" y="865"/>
                          <a:pt x="134" y="865"/>
                        </a:cubicBezTo>
                        <a:cubicBezTo>
                          <a:pt x="148" y="882"/>
                          <a:pt x="148" y="882"/>
                          <a:pt x="148" y="882"/>
                        </a:cubicBezTo>
                        <a:cubicBezTo>
                          <a:pt x="148" y="882"/>
                          <a:pt x="123" y="931"/>
                          <a:pt x="117" y="1006"/>
                        </a:cubicBezTo>
                        <a:cubicBezTo>
                          <a:pt x="111" y="1081"/>
                          <a:pt x="155" y="1118"/>
                          <a:pt x="162" y="1134"/>
                        </a:cubicBezTo>
                        <a:cubicBezTo>
                          <a:pt x="169" y="1150"/>
                          <a:pt x="106" y="1192"/>
                          <a:pt x="106" y="1192"/>
                        </a:cubicBezTo>
                        <a:cubicBezTo>
                          <a:pt x="106" y="1192"/>
                          <a:pt x="102" y="1263"/>
                          <a:pt x="116" y="1275"/>
                        </a:cubicBezTo>
                        <a:cubicBezTo>
                          <a:pt x="130" y="1287"/>
                          <a:pt x="156" y="1308"/>
                          <a:pt x="157" y="1334"/>
                        </a:cubicBezTo>
                        <a:cubicBezTo>
                          <a:pt x="158" y="1360"/>
                          <a:pt x="147" y="1355"/>
                          <a:pt x="129" y="1371"/>
                        </a:cubicBezTo>
                        <a:cubicBezTo>
                          <a:pt x="111" y="1387"/>
                          <a:pt x="66" y="1450"/>
                          <a:pt x="53" y="1502"/>
                        </a:cubicBezTo>
                        <a:cubicBezTo>
                          <a:pt x="40" y="1554"/>
                          <a:pt x="30" y="1631"/>
                          <a:pt x="30" y="1631"/>
                        </a:cubicBezTo>
                        <a:cubicBezTo>
                          <a:pt x="30" y="1631"/>
                          <a:pt x="4" y="1730"/>
                          <a:pt x="2" y="1752"/>
                        </a:cubicBezTo>
                        <a:cubicBezTo>
                          <a:pt x="0" y="1774"/>
                          <a:pt x="37" y="1798"/>
                          <a:pt x="50" y="1803"/>
                        </a:cubicBezTo>
                        <a:cubicBezTo>
                          <a:pt x="63" y="1808"/>
                          <a:pt x="159" y="1902"/>
                          <a:pt x="159" y="1902"/>
                        </a:cubicBezTo>
                        <a:cubicBezTo>
                          <a:pt x="159" y="1902"/>
                          <a:pt x="197" y="1897"/>
                          <a:pt x="205" y="1911"/>
                        </a:cubicBezTo>
                        <a:cubicBezTo>
                          <a:pt x="208" y="1917"/>
                          <a:pt x="206" y="1932"/>
                          <a:pt x="202" y="1947"/>
                        </a:cubicBezTo>
                        <a:cubicBezTo>
                          <a:pt x="207" y="1947"/>
                          <a:pt x="211" y="1946"/>
                          <a:pt x="211" y="1945"/>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91" name="Freeform 553">
                    <a:extLst>
                      <a:ext uri="{FF2B5EF4-FFF2-40B4-BE49-F238E27FC236}">
                        <a16:creationId xmlns:a16="http://schemas.microsoft.com/office/drawing/2014/main" id="{DB00CF46-BBDC-F595-3FDF-2BB75E7A65D7}"/>
                      </a:ext>
                    </a:extLst>
                  </p:cNvPr>
                  <p:cNvSpPr>
                    <a:spLocks noChangeAspect="1"/>
                  </p:cNvSpPr>
                  <p:nvPr/>
                </p:nvSpPr>
                <p:spPr bwMode="auto">
                  <a:xfrm>
                    <a:off x="4382430" y="4353093"/>
                    <a:ext cx="668446" cy="592526"/>
                  </a:xfrm>
                  <a:custGeom>
                    <a:avLst/>
                    <a:gdLst>
                      <a:gd name="T0" fmla="*/ 1711 w 1711"/>
                      <a:gd name="T1" fmla="*/ 1459 h 1515"/>
                      <a:gd name="T2" fmla="*/ 1603 w 1711"/>
                      <a:gd name="T3" fmla="*/ 1409 h 1515"/>
                      <a:gd name="T4" fmla="*/ 1677 w 1711"/>
                      <a:gd name="T5" fmla="*/ 1368 h 1515"/>
                      <a:gd name="T6" fmla="*/ 1698 w 1711"/>
                      <a:gd name="T7" fmla="*/ 1289 h 1515"/>
                      <a:gd name="T8" fmla="*/ 1636 w 1711"/>
                      <a:gd name="T9" fmla="*/ 1268 h 1515"/>
                      <a:gd name="T10" fmla="*/ 1520 w 1711"/>
                      <a:gd name="T11" fmla="*/ 1188 h 1515"/>
                      <a:gd name="T12" fmla="*/ 1634 w 1711"/>
                      <a:gd name="T13" fmla="*/ 1073 h 1515"/>
                      <a:gd name="T14" fmla="*/ 1683 w 1711"/>
                      <a:gd name="T15" fmla="*/ 896 h 1515"/>
                      <a:gd name="T16" fmla="*/ 1549 w 1711"/>
                      <a:gd name="T17" fmla="*/ 920 h 1515"/>
                      <a:gd name="T18" fmla="*/ 1457 w 1711"/>
                      <a:gd name="T19" fmla="*/ 837 h 1515"/>
                      <a:gd name="T20" fmla="*/ 1382 w 1711"/>
                      <a:gd name="T21" fmla="*/ 870 h 1515"/>
                      <a:gd name="T22" fmla="*/ 1320 w 1711"/>
                      <a:gd name="T23" fmla="*/ 787 h 1515"/>
                      <a:gd name="T24" fmla="*/ 1268 w 1711"/>
                      <a:gd name="T25" fmla="*/ 741 h 1515"/>
                      <a:gd name="T26" fmla="*/ 1148 w 1711"/>
                      <a:gd name="T27" fmla="*/ 821 h 1515"/>
                      <a:gd name="T28" fmla="*/ 992 w 1711"/>
                      <a:gd name="T29" fmla="*/ 843 h 1515"/>
                      <a:gd name="T30" fmla="*/ 953 w 1711"/>
                      <a:gd name="T31" fmla="*/ 779 h 1515"/>
                      <a:gd name="T32" fmla="*/ 946 w 1711"/>
                      <a:gd name="T33" fmla="*/ 631 h 1515"/>
                      <a:gd name="T34" fmla="*/ 826 w 1711"/>
                      <a:gd name="T35" fmla="*/ 501 h 1515"/>
                      <a:gd name="T36" fmla="*/ 650 w 1711"/>
                      <a:gd name="T37" fmla="*/ 447 h 1515"/>
                      <a:gd name="T38" fmla="*/ 606 w 1711"/>
                      <a:gd name="T39" fmla="*/ 526 h 1515"/>
                      <a:gd name="T40" fmla="*/ 472 w 1711"/>
                      <a:gd name="T41" fmla="*/ 578 h 1515"/>
                      <a:gd name="T42" fmla="*/ 306 w 1711"/>
                      <a:gd name="T43" fmla="*/ 387 h 1515"/>
                      <a:gd name="T44" fmla="*/ 289 w 1711"/>
                      <a:gd name="T45" fmla="*/ 147 h 1515"/>
                      <a:gd name="T46" fmla="*/ 200 w 1711"/>
                      <a:gd name="T47" fmla="*/ 194 h 1515"/>
                      <a:gd name="T48" fmla="*/ 151 w 1711"/>
                      <a:gd name="T49" fmla="*/ 9 h 1515"/>
                      <a:gd name="T50" fmla="*/ 18 w 1711"/>
                      <a:gd name="T51" fmla="*/ 86 h 1515"/>
                      <a:gd name="T52" fmla="*/ 56 w 1711"/>
                      <a:gd name="T53" fmla="*/ 363 h 1515"/>
                      <a:gd name="T54" fmla="*/ 126 w 1711"/>
                      <a:gd name="T55" fmla="*/ 445 h 1515"/>
                      <a:gd name="T56" fmla="*/ 89 w 1711"/>
                      <a:gd name="T57" fmla="*/ 655 h 1515"/>
                      <a:gd name="T58" fmla="*/ 113 w 1711"/>
                      <a:gd name="T59" fmla="*/ 845 h 1515"/>
                      <a:gd name="T60" fmla="*/ 76 w 1711"/>
                      <a:gd name="T61" fmla="*/ 947 h 1515"/>
                      <a:gd name="T62" fmla="*/ 113 w 1711"/>
                      <a:gd name="T63" fmla="*/ 1103 h 1515"/>
                      <a:gd name="T64" fmla="*/ 99 w 1711"/>
                      <a:gd name="T65" fmla="*/ 1276 h 1515"/>
                      <a:gd name="T66" fmla="*/ 106 w 1711"/>
                      <a:gd name="T67" fmla="*/ 1339 h 1515"/>
                      <a:gd name="T68" fmla="*/ 166 w 1711"/>
                      <a:gd name="T69" fmla="*/ 1329 h 1515"/>
                      <a:gd name="T70" fmla="*/ 191 w 1711"/>
                      <a:gd name="T71" fmla="*/ 1294 h 1515"/>
                      <a:gd name="T72" fmla="*/ 332 w 1711"/>
                      <a:gd name="T73" fmla="*/ 1305 h 1515"/>
                      <a:gd name="T74" fmla="*/ 474 w 1711"/>
                      <a:gd name="T75" fmla="*/ 1259 h 1515"/>
                      <a:gd name="T76" fmla="*/ 588 w 1711"/>
                      <a:gd name="T77" fmla="*/ 1151 h 1515"/>
                      <a:gd name="T78" fmla="*/ 664 w 1711"/>
                      <a:gd name="T79" fmla="*/ 1194 h 1515"/>
                      <a:gd name="T80" fmla="*/ 1301 w 1711"/>
                      <a:gd name="T81" fmla="*/ 1163 h 1515"/>
                      <a:gd name="T82" fmla="*/ 1237 w 1711"/>
                      <a:gd name="T83" fmla="*/ 1235 h 1515"/>
                      <a:gd name="T84" fmla="*/ 1298 w 1711"/>
                      <a:gd name="T85" fmla="*/ 1273 h 1515"/>
                      <a:gd name="T86" fmla="*/ 1361 w 1711"/>
                      <a:gd name="T87" fmla="*/ 1301 h 1515"/>
                      <a:gd name="T88" fmla="*/ 1361 w 1711"/>
                      <a:gd name="T89" fmla="*/ 1368 h 1515"/>
                      <a:gd name="T90" fmla="*/ 1462 w 1711"/>
                      <a:gd name="T91" fmla="*/ 1381 h 1515"/>
                      <a:gd name="T92" fmla="*/ 1635 w 1711"/>
                      <a:gd name="T93" fmla="*/ 1506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11" h="1515">
                        <a:moveTo>
                          <a:pt x="1680" y="1497"/>
                        </a:moveTo>
                        <a:cubicBezTo>
                          <a:pt x="1690" y="1497"/>
                          <a:pt x="1706" y="1481"/>
                          <a:pt x="1706" y="1481"/>
                        </a:cubicBezTo>
                        <a:cubicBezTo>
                          <a:pt x="1711" y="1459"/>
                          <a:pt x="1711" y="1459"/>
                          <a:pt x="1711" y="1459"/>
                        </a:cubicBezTo>
                        <a:cubicBezTo>
                          <a:pt x="1691" y="1440"/>
                          <a:pt x="1691" y="1440"/>
                          <a:pt x="1691" y="1440"/>
                        </a:cubicBezTo>
                        <a:cubicBezTo>
                          <a:pt x="1604" y="1441"/>
                          <a:pt x="1604" y="1441"/>
                          <a:pt x="1604" y="1441"/>
                        </a:cubicBezTo>
                        <a:cubicBezTo>
                          <a:pt x="1603" y="1409"/>
                          <a:pt x="1603" y="1409"/>
                          <a:pt x="1603" y="1409"/>
                        </a:cubicBezTo>
                        <a:cubicBezTo>
                          <a:pt x="1603" y="1409"/>
                          <a:pt x="1624" y="1408"/>
                          <a:pt x="1632" y="1408"/>
                        </a:cubicBezTo>
                        <a:cubicBezTo>
                          <a:pt x="1640" y="1408"/>
                          <a:pt x="1666" y="1406"/>
                          <a:pt x="1666" y="1401"/>
                        </a:cubicBezTo>
                        <a:cubicBezTo>
                          <a:pt x="1667" y="1397"/>
                          <a:pt x="1674" y="1371"/>
                          <a:pt x="1677" y="1368"/>
                        </a:cubicBezTo>
                        <a:cubicBezTo>
                          <a:pt x="1680" y="1365"/>
                          <a:pt x="1704" y="1360"/>
                          <a:pt x="1704" y="1360"/>
                        </a:cubicBezTo>
                        <a:cubicBezTo>
                          <a:pt x="1704" y="1360"/>
                          <a:pt x="1706" y="1331"/>
                          <a:pt x="1704" y="1320"/>
                        </a:cubicBezTo>
                        <a:cubicBezTo>
                          <a:pt x="1701" y="1309"/>
                          <a:pt x="1693" y="1299"/>
                          <a:pt x="1698" y="1289"/>
                        </a:cubicBezTo>
                        <a:cubicBezTo>
                          <a:pt x="1704" y="1280"/>
                          <a:pt x="1710" y="1267"/>
                          <a:pt x="1710" y="1267"/>
                        </a:cubicBezTo>
                        <a:cubicBezTo>
                          <a:pt x="1710" y="1267"/>
                          <a:pt x="1703" y="1215"/>
                          <a:pt x="1693" y="1218"/>
                        </a:cubicBezTo>
                        <a:cubicBezTo>
                          <a:pt x="1684" y="1221"/>
                          <a:pt x="1636" y="1268"/>
                          <a:pt x="1636" y="1268"/>
                        </a:cubicBezTo>
                        <a:cubicBezTo>
                          <a:pt x="1559" y="1268"/>
                          <a:pt x="1559" y="1268"/>
                          <a:pt x="1559" y="1268"/>
                        </a:cubicBezTo>
                        <a:cubicBezTo>
                          <a:pt x="1559" y="1268"/>
                          <a:pt x="1507" y="1216"/>
                          <a:pt x="1512" y="1204"/>
                        </a:cubicBezTo>
                        <a:cubicBezTo>
                          <a:pt x="1518" y="1193"/>
                          <a:pt x="1520" y="1188"/>
                          <a:pt x="1520" y="1188"/>
                        </a:cubicBezTo>
                        <a:cubicBezTo>
                          <a:pt x="1520" y="1188"/>
                          <a:pt x="1518" y="1141"/>
                          <a:pt x="1531" y="1132"/>
                        </a:cubicBezTo>
                        <a:cubicBezTo>
                          <a:pt x="1544" y="1122"/>
                          <a:pt x="1605" y="1073"/>
                          <a:pt x="1616" y="1073"/>
                        </a:cubicBezTo>
                        <a:cubicBezTo>
                          <a:pt x="1627" y="1073"/>
                          <a:pt x="1632" y="1074"/>
                          <a:pt x="1634" y="1073"/>
                        </a:cubicBezTo>
                        <a:cubicBezTo>
                          <a:pt x="1636" y="1071"/>
                          <a:pt x="1665" y="1040"/>
                          <a:pt x="1665" y="1039"/>
                        </a:cubicBezTo>
                        <a:cubicBezTo>
                          <a:pt x="1665" y="1037"/>
                          <a:pt x="1667" y="971"/>
                          <a:pt x="1670" y="964"/>
                        </a:cubicBezTo>
                        <a:cubicBezTo>
                          <a:pt x="1674" y="957"/>
                          <a:pt x="1683" y="896"/>
                          <a:pt x="1683" y="896"/>
                        </a:cubicBezTo>
                        <a:cubicBezTo>
                          <a:pt x="1683" y="896"/>
                          <a:pt x="1683" y="895"/>
                          <a:pt x="1684" y="894"/>
                        </a:cubicBezTo>
                        <a:cubicBezTo>
                          <a:pt x="1653" y="898"/>
                          <a:pt x="1603" y="905"/>
                          <a:pt x="1598" y="905"/>
                        </a:cubicBezTo>
                        <a:cubicBezTo>
                          <a:pt x="1591" y="905"/>
                          <a:pt x="1571" y="915"/>
                          <a:pt x="1549" y="920"/>
                        </a:cubicBezTo>
                        <a:cubicBezTo>
                          <a:pt x="1527" y="925"/>
                          <a:pt x="1498" y="898"/>
                          <a:pt x="1490" y="895"/>
                        </a:cubicBezTo>
                        <a:cubicBezTo>
                          <a:pt x="1483" y="893"/>
                          <a:pt x="1481" y="871"/>
                          <a:pt x="1475" y="854"/>
                        </a:cubicBezTo>
                        <a:cubicBezTo>
                          <a:pt x="1470" y="836"/>
                          <a:pt x="1462" y="843"/>
                          <a:pt x="1457" y="837"/>
                        </a:cubicBezTo>
                        <a:cubicBezTo>
                          <a:pt x="1452" y="832"/>
                          <a:pt x="1448" y="827"/>
                          <a:pt x="1440" y="827"/>
                        </a:cubicBezTo>
                        <a:cubicBezTo>
                          <a:pt x="1431" y="827"/>
                          <a:pt x="1435" y="837"/>
                          <a:pt x="1426" y="848"/>
                        </a:cubicBezTo>
                        <a:cubicBezTo>
                          <a:pt x="1417" y="859"/>
                          <a:pt x="1399" y="862"/>
                          <a:pt x="1382" y="870"/>
                        </a:cubicBezTo>
                        <a:cubicBezTo>
                          <a:pt x="1364" y="878"/>
                          <a:pt x="1341" y="845"/>
                          <a:pt x="1340" y="843"/>
                        </a:cubicBezTo>
                        <a:cubicBezTo>
                          <a:pt x="1338" y="842"/>
                          <a:pt x="1335" y="806"/>
                          <a:pt x="1335" y="805"/>
                        </a:cubicBezTo>
                        <a:cubicBezTo>
                          <a:pt x="1335" y="803"/>
                          <a:pt x="1320" y="787"/>
                          <a:pt x="1320" y="787"/>
                        </a:cubicBezTo>
                        <a:cubicBezTo>
                          <a:pt x="1320" y="787"/>
                          <a:pt x="1318" y="784"/>
                          <a:pt x="1315" y="779"/>
                        </a:cubicBezTo>
                        <a:cubicBezTo>
                          <a:pt x="1312" y="773"/>
                          <a:pt x="1309" y="766"/>
                          <a:pt x="1305" y="756"/>
                        </a:cubicBezTo>
                        <a:cubicBezTo>
                          <a:pt x="1298" y="738"/>
                          <a:pt x="1291" y="741"/>
                          <a:pt x="1268" y="741"/>
                        </a:cubicBezTo>
                        <a:cubicBezTo>
                          <a:pt x="1244" y="742"/>
                          <a:pt x="1224" y="773"/>
                          <a:pt x="1215" y="775"/>
                        </a:cubicBezTo>
                        <a:cubicBezTo>
                          <a:pt x="1206" y="778"/>
                          <a:pt x="1200" y="782"/>
                          <a:pt x="1186" y="794"/>
                        </a:cubicBezTo>
                        <a:cubicBezTo>
                          <a:pt x="1171" y="805"/>
                          <a:pt x="1156" y="820"/>
                          <a:pt x="1148" y="821"/>
                        </a:cubicBezTo>
                        <a:cubicBezTo>
                          <a:pt x="1140" y="823"/>
                          <a:pt x="1130" y="809"/>
                          <a:pt x="1129" y="808"/>
                        </a:cubicBezTo>
                        <a:cubicBezTo>
                          <a:pt x="1128" y="806"/>
                          <a:pt x="1106" y="821"/>
                          <a:pt x="1088" y="832"/>
                        </a:cubicBezTo>
                        <a:cubicBezTo>
                          <a:pt x="1070" y="843"/>
                          <a:pt x="1004" y="843"/>
                          <a:pt x="992" y="843"/>
                        </a:cubicBezTo>
                        <a:cubicBezTo>
                          <a:pt x="980" y="843"/>
                          <a:pt x="968" y="832"/>
                          <a:pt x="958" y="829"/>
                        </a:cubicBezTo>
                        <a:cubicBezTo>
                          <a:pt x="947" y="827"/>
                          <a:pt x="933" y="826"/>
                          <a:pt x="922" y="826"/>
                        </a:cubicBezTo>
                        <a:cubicBezTo>
                          <a:pt x="911" y="826"/>
                          <a:pt x="947" y="790"/>
                          <a:pt x="953" y="779"/>
                        </a:cubicBezTo>
                        <a:cubicBezTo>
                          <a:pt x="958" y="768"/>
                          <a:pt x="958" y="732"/>
                          <a:pt x="958" y="729"/>
                        </a:cubicBezTo>
                        <a:cubicBezTo>
                          <a:pt x="957" y="726"/>
                          <a:pt x="951" y="713"/>
                          <a:pt x="951" y="713"/>
                        </a:cubicBezTo>
                        <a:cubicBezTo>
                          <a:pt x="951" y="713"/>
                          <a:pt x="969" y="638"/>
                          <a:pt x="946" y="631"/>
                        </a:cubicBezTo>
                        <a:cubicBezTo>
                          <a:pt x="922" y="623"/>
                          <a:pt x="915" y="603"/>
                          <a:pt x="909" y="578"/>
                        </a:cubicBezTo>
                        <a:cubicBezTo>
                          <a:pt x="903" y="553"/>
                          <a:pt x="890" y="544"/>
                          <a:pt x="875" y="526"/>
                        </a:cubicBezTo>
                        <a:cubicBezTo>
                          <a:pt x="861" y="507"/>
                          <a:pt x="840" y="509"/>
                          <a:pt x="826" y="501"/>
                        </a:cubicBezTo>
                        <a:cubicBezTo>
                          <a:pt x="812" y="494"/>
                          <a:pt x="770" y="493"/>
                          <a:pt x="758" y="493"/>
                        </a:cubicBezTo>
                        <a:cubicBezTo>
                          <a:pt x="746" y="493"/>
                          <a:pt x="723" y="516"/>
                          <a:pt x="704" y="520"/>
                        </a:cubicBezTo>
                        <a:cubicBezTo>
                          <a:pt x="686" y="525"/>
                          <a:pt x="670" y="456"/>
                          <a:pt x="650" y="447"/>
                        </a:cubicBezTo>
                        <a:cubicBezTo>
                          <a:pt x="630" y="437"/>
                          <a:pt x="620" y="477"/>
                          <a:pt x="616" y="482"/>
                        </a:cubicBezTo>
                        <a:cubicBezTo>
                          <a:pt x="612" y="486"/>
                          <a:pt x="619" y="506"/>
                          <a:pt x="619" y="510"/>
                        </a:cubicBezTo>
                        <a:cubicBezTo>
                          <a:pt x="619" y="515"/>
                          <a:pt x="611" y="520"/>
                          <a:pt x="606" y="526"/>
                        </a:cubicBezTo>
                        <a:cubicBezTo>
                          <a:pt x="600" y="531"/>
                          <a:pt x="602" y="533"/>
                          <a:pt x="584" y="557"/>
                        </a:cubicBezTo>
                        <a:cubicBezTo>
                          <a:pt x="566" y="582"/>
                          <a:pt x="539" y="582"/>
                          <a:pt x="528" y="588"/>
                        </a:cubicBezTo>
                        <a:cubicBezTo>
                          <a:pt x="516" y="594"/>
                          <a:pt x="489" y="581"/>
                          <a:pt x="472" y="578"/>
                        </a:cubicBezTo>
                        <a:cubicBezTo>
                          <a:pt x="456" y="574"/>
                          <a:pt x="441" y="556"/>
                          <a:pt x="431" y="548"/>
                        </a:cubicBezTo>
                        <a:cubicBezTo>
                          <a:pt x="422" y="540"/>
                          <a:pt x="416" y="531"/>
                          <a:pt x="405" y="517"/>
                        </a:cubicBezTo>
                        <a:cubicBezTo>
                          <a:pt x="394" y="502"/>
                          <a:pt x="360" y="451"/>
                          <a:pt x="306" y="387"/>
                        </a:cubicBezTo>
                        <a:cubicBezTo>
                          <a:pt x="253" y="323"/>
                          <a:pt x="269" y="312"/>
                          <a:pt x="267" y="277"/>
                        </a:cubicBezTo>
                        <a:cubicBezTo>
                          <a:pt x="265" y="241"/>
                          <a:pt x="289" y="181"/>
                          <a:pt x="292" y="174"/>
                        </a:cubicBezTo>
                        <a:cubicBezTo>
                          <a:pt x="295" y="167"/>
                          <a:pt x="292" y="161"/>
                          <a:pt x="289" y="147"/>
                        </a:cubicBezTo>
                        <a:cubicBezTo>
                          <a:pt x="287" y="134"/>
                          <a:pt x="267" y="107"/>
                          <a:pt x="244" y="114"/>
                        </a:cubicBezTo>
                        <a:cubicBezTo>
                          <a:pt x="222" y="122"/>
                          <a:pt x="223" y="194"/>
                          <a:pt x="223" y="194"/>
                        </a:cubicBezTo>
                        <a:cubicBezTo>
                          <a:pt x="223" y="194"/>
                          <a:pt x="203" y="194"/>
                          <a:pt x="200" y="194"/>
                        </a:cubicBezTo>
                        <a:cubicBezTo>
                          <a:pt x="197" y="194"/>
                          <a:pt x="193" y="172"/>
                          <a:pt x="193" y="172"/>
                        </a:cubicBezTo>
                        <a:cubicBezTo>
                          <a:pt x="193" y="172"/>
                          <a:pt x="189" y="73"/>
                          <a:pt x="186" y="58"/>
                        </a:cubicBezTo>
                        <a:cubicBezTo>
                          <a:pt x="183" y="44"/>
                          <a:pt x="158" y="18"/>
                          <a:pt x="151" y="9"/>
                        </a:cubicBezTo>
                        <a:cubicBezTo>
                          <a:pt x="144" y="0"/>
                          <a:pt x="98" y="7"/>
                          <a:pt x="92" y="10"/>
                        </a:cubicBezTo>
                        <a:cubicBezTo>
                          <a:pt x="89" y="12"/>
                          <a:pt x="69" y="13"/>
                          <a:pt x="49" y="13"/>
                        </a:cubicBezTo>
                        <a:cubicBezTo>
                          <a:pt x="40" y="45"/>
                          <a:pt x="28" y="74"/>
                          <a:pt x="18" y="86"/>
                        </a:cubicBezTo>
                        <a:cubicBezTo>
                          <a:pt x="0" y="108"/>
                          <a:pt x="38" y="112"/>
                          <a:pt x="38" y="124"/>
                        </a:cubicBezTo>
                        <a:cubicBezTo>
                          <a:pt x="38" y="136"/>
                          <a:pt x="64" y="169"/>
                          <a:pt x="64" y="169"/>
                        </a:cubicBezTo>
                        <a:cubicBezTo>
                          <a:pt x="56" y="363"/>
                          <a:pt x="56" y="363"/>
                          <a:pt x="56" y="363"/>
                        </a:cubicBezTo>
                        <a:cubicBezTo>
                          <a:pt x="80" y="380"/>
                          <a:pt x="80" y="380"/>
                          <a:pt x="80" y="380"/>
                        </a:cubicBezTo>
                        <a:cubicBezTo>
                          <a:pt x="80" y="380"/>
                          <a:pt x="81" y="384"/>
                          <a:pt x="80" y="410"/>
                        </a:cubicBezTo>
                        <a:cubicBezTo>
                          <a:pt x="79" y="436"/>
                          <a:pt x="126" y="445"/>
                          <a:pt x="126" y="445"/>
                        </a:cubicBezTo>
                        <a:cubicBezTo>
                          <a:pt x="126" y="445"/>
                          <a:pt x="122" y="507"/>
                          <a:pt x="122" y="510"/>
                        </a:cubicBezTo>
                        <a:cubicBezTo>
                          <a:pt x="122" y="513"/>
                          <a:pt x="112" y="512"/>
                          <a:pt x="96" y="514"/>
                        </a:cubicBezTo>
                        <a:cubicBezTo>
                          <a:pt x="80" y="516"/>
                          <a:pt x="89" y="655"/>
                          <a:pt x="89" y="655"/>
                        </a:cubicBezTo>
                        <a:cubicBezTo>
                          <a:pt x="89" y="655"/>
                          <a:pt x="116" y="692"/>
                          <a:pt x="120" y="732"/>
                        </a:cubicBezTo>
                        <a:cubicBezTo>
                          <a:pt x="124" y="772"/>
                          <a:pt x="85" y="800"/>
                          <a:pt x="85" y="800"/>
                        </a:cubicBezTo>
                        <a:cubicBezTo>
                          <a:pt x="113" y="845"/>
                          <a:pt x="113" y="845"/>
                          <a:pt x="113" y="845"/>
                        </a:cubicBezTo>
                        <a:cubicBezTo>
                          <a:pt x="58" y="893"/>
                          <a:pt x="58" y="893"/>
                          <a:pt x="58" y="893"/>
                        </a:cubicBezTo>
                        <a:cubicBezTo>
                          <a:pt x="64" y="947"/>
                          <a:pt x="64" y="947"/>
                          <a:pt x="64" y="947"/>
                        </a:cubicBezTo>
                        <a:cubicBezTo>
                          <a:pt x="76" y="947"/>
                          <a:pt x="76" y="947"/>
                          <a:pt x="76" y="947"/>
                        </a:cubicBezTo>
                        <a:cubicBezTo>
                          <a:pt x="76" y="947"/>
                          <a:pt x="81" y="1031"/>
                          <a:pt x="80" y="1042"/>
                        </a:cubicBezTo>
                        <a:cubicBezTo>
                          <a:pt x="79" y="1053"/>
                          <a:pt x="67" y="1052"/>
                          <a:pt x="66" y="1084"/>
                        </a:cubicBezTo>
                        <a:cubicBezTo>
                          <a:pt x="65" y="1116"/>
                          <a:pt x="97" y="1096"/>
                          <a:pt x="113" y="1103"/>
                        </a:cubicBezTo>
                        <a:cubicBezTo>
                          <a:pt x="129" y="1110"/>
                          <a:pt x="117" y="1171"/>
                          <a:pt x="117" y="1171"/>
                        </a:cubicBezTo>
                        <a:cubicBezTo>
                          <a:pt x="117" y="1171"/>
                          <a:pt x="69" y="1218"/>
                          <a:pt x="69" y="1222"/>
                        </a:cubicBezTo>
                        <a:cubicBezTo>
                          <a:pt x="69" y="1226"/>
                          <a:pt x="89" y="1260"/>
                          <a:pt x="99" y="1276"/>
                        </a:cubicBezTo>
                        <a:cubicBezTo>
                          <a:pt x="109" y="1292"/>
                          <a:pt x="85" y="1300"/>
                          <a:pt x="59" y="1333"/>
                        </a:cubicBezTo>
                        <a:cubicBezTo>
                          <a:pt x="58" y="1334"/>
                          <a:pt x="58" y="1335"/>
                          <a:pt x="57" y="1336"/>
                        </a:cubicBezTo>
                        <a:cubicBezTo>
                          <a:pt x="106" y="1339"/>
                          <a:pt x="106" y="1339"/>
                          <a:pt x="106" y="1339"/>
                        </a:cubicBezTo>
                        <a:cubicBezTo>
                          <a:pt x="124" y="1354"/>
                          <a:pt x="124" y="1354"/>
                          <a:pt x="124" y="1354"/>
                        </a:cubicBezTo>
                        <a:cubicBezTo>
                          <a:pt x="124" y="1354"/>
                          <a:pt x="141" y="1330"/>
                          <a:pt x="150" y="1330"/>
                        </a:cubicBezTo>
                        <a:cubicBezTo>
                          <a:pt x="158" y="1330"/>
                          <a:pt x="166" y="1329"/>
                          <a:pt x="166" y="1329"/>
                        </a:cubicBezTo>
                        <a:cubicBezTo>
                          <a:pt x="170" y="1312"/>
                          <a:pt x="170" y="1312"/>
                          <a:pt x="170" y="1312"/>
                        </a:cubicBezTo>
                        <a:cubicBezTo>
                          <a:pt x="181" y="1311"/>
                          <a:pt x="181" y="1311"/>
                          <a:pt x="181" y="1311"/>
                        </a:cubicBezTo>
                        <a:cubicBezTo>
                          <a:pt x="191" y="1294"/>
                          <a:pt x="191" y="1294"/>
                          <a:pt x="191" y="1294"/>
                        </a:cubicBezTo>
                        <a:cubicBezTo>
                          <a:pt x="191" y="1294"/>
                          <a:pt x="301" y="1304"/>
                          <a:pt x="306" y="1311"/>
                        </a:cubicBezTo>
                        <a:cubicBezTo>
                          <a:pt x="312" y="1317"/>
                          <a:pt x="313" y="1317"/>
                          <a:pt x="316" y="1316"/>
                        </a:cubicBezTo>
                        <a:cubicBezTo>
                          <a:pt x="320" y="1315"/>
                          <a:pt x="322" y="1305"/>
                          <a:pt x="332" y="1305"/>
                        </a:cubicBezTo>
                        <a:cubicBezTo>
                          <a:pt x="341" y="1305"/>
                          <a:pt x="348" y="1315"/>
                          <a:pt x="352" y="1316"/>
                        </a:cubicBezTo>
                        <a:cubicBezTo>
                          <a:pt x="356" y="1317"/>
                          <a:pt x="416" y="1313"/>
                          <a:pt x="425" y="1307"/>
                        </a:cubicBezTo>
                        <a:cubicBezTo>
                          <a:pt x="434" y="1301"/>
                          <a:pt x="471" y="1276"/>
                          <a:pt x="474" y="1259"/>
                        </a:cubicBezTo>
                        <a:cubicBezTo>
                          <a:pt x="478" y="1243"/>
                          <a:pt x="498" y="1212"/>
                          <a:pt x="504" y="1196"/>
                        </a:cubicBezTo>
                        <a:cubicBezTo>
                          <a:pt x="510" y="1180"/>
                          <a:pt x="514" y="1151"/>
                          <a:pt x="514" y="1151"/>
                        </a:cubicBezTo>
                        <a:cubicBezTo>
                          <a:pt x="588" y="1151"/>
                          <a:pt x="588" y="1151"/>
                          <a:pt x="588" y="1151"/>
                        </a:cubicBezTo>
                        <a:cubicBezTo>
                          <a:pt x="588" y="1151"/>
                          <a:pt x="604" y="1190"/>
                          <a:pt x="612" y="1191"/>
                        </a:cubicBezTo>
                        <a:cubicBezTo>
                          <a:pt x="621" y="1193"/>
                          <a:pt x="635" y="1205"/>
                          <a:pt x="646" y="1204"/>
                        </a:cubicBezTo>
                        <a:cubicBezTo>
                          <a:pt x="656" y="1203"/>
                          <a:pt x="658" y="1195"/>
                          <a:pt x="664" y="1194"/>
                        </a:cubicBezTo>
                        <a:cubicBezTo>
                          <a:pt x="669" y="1193"/>
                          <a:pt x="680" y="1193"/>
                          <a:pt x="680" y="1193"/>
                        </a:cubicBezTo>
                        <a:cubicBezTo>
                          <a:pt x="681" y="1159"/>
                          <a:pt x="681" y="1159"/>
                          <a:pt x="681" y="1159"/>
                        </a:cubicBezTo>
                        <a:cubicBezTo>
                          <a:pt x="1301" y="1163"/>
                          <a:pt x="1301" y="1163"/>
                          <a:pt x="1301" y="1163"/>
                        </a:cubicBezTo>
                        <a:cubicBezTo>
                          <a:pt x="1301" y="1163"/>
                          <a:pt x="1312" y="1181"/>
                          <a:pt x="1305" y="1187"/>
                        </a:cubicBezTo>
                        <a:cubicBezTo>
                          <a:pt x="1298" y="1193"/>
                          <a:pt x="1264" y="1203"/>
                          <a:pt x="1255" y="1215"/>
                        </a:cubicBezTo>
                        <a:cubicBezTo>
                          <a:pt x="1246" y="1226"/>
                          <a:pt x="1236" y="1222"/>
                          <a:pt x="1237" y="1235"/>
                        </a:cubicBezTo>
                        <a:cubicBezTo>
                          <a:pt x="1238" y="1249"/>
                          <a:pt x="1252" y="1259"/>
                          <a:pt x="1252" y="1259"/>
                        </a:cubicBezTo>
                        <a:cubicBezTo>
                          <a:pt x="1252" y="1259"/>
                          <a:pt x="1249" y="1269"/>
                          <a:pt x="1252" y="1275"/>
                        </a:cubicBezTo>
                        <a:cubicBezTo>
                          <a:pt x="1256" y="1282"/>
                          <a:pt x="1286" y="1279"/>
                          <a:pt x="1298" y="1273"/>
                        </a:cubicBezTo>
                        <a:cubicBezTo>
                          <a:pt x="1310" y="1268"/>
                          <a:pt x="1350" y="1252"/>
                          <a:pt x="1357" y="1254"/>
                        </a:cubicBezTo>
                        <a:cubicBezTo>
                          <a:pt x="1364" y="1256"/>
                          <a:pt x="1373" y="1269"/>
                          <a:pt x="1373" y="1276"/>
                        </a:cubicBezTo>
                        <a:cubicBezTo>
                          <a:pt x="1373" y="1283"/>
                          <a:pt x="1374" y="1295"/>
                          <a:pt x="1361" y="1301"/>
                        </a:cubicBezTo>
                        <a:cubicBezTo>
                          <a:pt x="1348" y="1308"/>
                          <a:pt x="1317" y="1310"/>
                          <a:pt x="1316" y="1315"/>
                        </a:cubicBezTo>
                        <a:cubicBezTo>
                          <a:pt x="1316" y="1319"/>
                          <a:pt x="1316" y="1350"/>
                          <a:pt x="1329" y="1358"/>
                        </a:cubicBezTo>
                        <a:cubicBezTo>
                          <a:pt x="1342" y="1366"/>
                          <a:pt x="1355" y="1367"/>
                          <a:pt x="1361" y="1368"/>
                        </a:cubicBezTo>
                        <a:cubicBezTo>
                          <a:pt x="1367" y="1369"/>
                          <a:pt x="1398" y="1393"/>
                          <a:pt x="1410" y="1391"/>
                        </a:cubicBezTo>
                        <a:cubicBezTo>
                          <a:pt x="1422" y="1390"/>
                          <a:pt x="1419" y="1380"/>
                          <a:pt x="1428" y="1380"/>
                        </a:cubicBezTo>
                        <a:cubicBezTo>
                          <a:pt x="1436" y="1380"/>
                          <a:pt x="1462" y="1378"/>
                          <a:pt x="1462" y="1381"/>
                        </a:cubicBezTo>
                        <a:cubicBezTo>
                          <a:pt x="1462" y="1383"/>
                          <a:pt x="1465" y="1422"/>
                          <a:pt x="1468" y="1451"/>
                        </a:cubicBezTo>
                        <a:cubicBezTo>
                          <a:pt x="1519" y="1459"/>
                          <a:pt x="1560" y="1465"/>
                          <a:pt x="1567" y="1466"/>
                        </a:cubicBezTo>
                        <a:cubicBezTo>
                          <a:pt x="1587" y="1470"/>
                          <a:pt x="1635" y="1506"/>
                          <a:pt x="1635" y="1506"/>
                        </a:cubicBezTo>
                        <a:cubicBezTo>
                          <a:pt x="1635" y="1506"/>
                          <a:pt x="1648" y="1513"/>
                          <a:pt x="1663" y="1515"/>
                        </a:cubicBezTo>
                        <a:cubicBezTo>
                          <a:pt x="1668" y="1506"/>
                          <a:pt x="1674" y="1497"/>
                          <a:pt x="1680" y="1497"/>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Freeform 554">
                    <a:extLst>
                      <a:ext uri="{FF2B5EF4-FFF2-40B4-BE49-F238E27FC236}">
                        <a16:creationId xmlns:a16="http://schemas.microsoft.com/office/drawing/2014/main" id="{6FB37B7A-95F0-75AE-95F2-428ED8E681D6}"/>
                      </a:ext>
                    </a:extLst>
                  </p:cNvPr>
                  <p:cNvSpPr>
                    <a:spLocks noChangeAspect="1"/>
                  </p:cNvSpPr>
                  <p:nvPr/>
                </p:nvSpPr>
                <p:spPr bwMode="auto">
                  <a:xfrm>
                    <a:off x="4395607" y="4803174"/>
                    <a:ext cx="560632" cy="123293"/>
                  </a:xfrm>
                  <a:custGeom>
                    <a:avLst/>
                    <a:gdLst>
                      <a:gd name="T0" fmla="*/ 1394 w 1434"/>
                      <a:gd name="T1" fmla="*/ 229 h 317"/>
                      <a:gd name="T2" fmla="*/ 1376 w 1434"/>
                      <a:gd name="T3" fmla="*/ 240 h 317"/>
                      <a:gd name="T4" fmla="*/ 1327 w 1434"/>
                      <a:gd name="T5" fmla="*/ 217 h 317"/>
                      <a:gd name="T6" fmla="*/ 1295 w 1434"/>
                      <a:gd name="T7" fmla="*/ 207 h 317"/>
                      <a:gd name="T8" fmla="*/ 1282 w 1434"/>
                      <a:gd name="T9" fmla="*/ 164 h 317"/>
                      <a:gd name="T10" fmla="*/ 1327 w 1434"/>
                      <a:gd name="T11" fmla="*/ 150 h 317"/>
                      <a:gd name="T12" fmla="*/ 1339 w 1434"/>
                      <a:gd name="T13" fmla="*/ 125 h 317"/>
                      <a:gd name="T14" fmla="*/ 1323 w 1434"/>
                      <a:gd name="T15" fmla="*/ 103 h 317"/>
                      <a:gd name="T16" fmla="*/ 1264 w 1434"/>
                      <a:gd name="T17" fmla="*/ 122 h 317"/>
                      <a:gd name="T18" fmla="*/ 1218 w 1434"/>
                      <a:gd name="T19" fmla="*/ 124 h 317"/>
                      <a:gd name="T20" fmla="*/ 1218 w 1434"/>
                      <a:gd name="T21" fmla="*/ 108 h 317"/>
                      <a:gd name="T22" fmla="*/ 1203 w 1434"/>
                      <a:gd name="T23" fmla="*/ 84 h 317"/>
                      <a:gd name="T24" fmla="*/ 1221 w 1434"/>
                      <a:gd name="T25" fmla="*/ 64 h 317"/>
                      <a:gd name="T26" fmla="*/ 1271 w 1434"/>
                      <a:gd name="T27" fmla="*/ 36 h 317"/>
                      <a:gd name="T28" fmla="*/ 1267 w 1434"/>
                      <a:gd name="T29" fmla="*/ 12 h 317"/>
                      <a:gd name="T30" fmla="*/ 647 w 1434"/>
                      <a:gd name="T31" fmla="*/ 8 h 317"/>
                      <a:gd name="T32" fmla="*/ 646 w 1434"/>
                      <a:gd name="T33" fmla="*/ 42 h 317"/>
                      <a:gd name="T34" fmla="*/ 630 w 1434"/>
                      <a:gd name="T35" fmla="*/ 43 h 317"/>
                      <a:gd name="T36" fmla="*/ 612 w 1434"/>
                      <a:gd name="T37" fmla="*/ 53 h 317"/>
                      <a:gd name="T38" fmla="*/ 578 w 1434"/>
                      <a:gd name="T39" fmla="*/ 40 h 317"/>
                      <a:gd name="T40" fmla="*/ 554 w 1434"/>
                      <a:gd name="T41" fmla="*/ 0 h 317"/>
                      <a:gd name="T42" fmla="*/ 480 w 1434"/>
                      <a:gd name="T43" fmla="*/ 0 h 317"/>
                      <a:gd name="T44" fmla="*/ 470 w 1434"/>
                      <a:gd name="T45" fmla="*/ 45 h 317"/>
                      <a:gd name="T46" fmla="*/ 440 w 1434"/>
                      <a:gd name="T47" fmla="*/ 108 h 317"/>
                      <a:gd name="T48" fmla="*/ 391 w 1434"/>
                      <a:gd name="T49" fmla="*/ 156 h 317"/>
                      <a:gd name="T50" fmla="*/ 318 w 1434"/>
                      <a:gd name="T51" fmla="*/ 165 h 317"/>
                      <a:gd name="T52" fmla="*/ 298 w 1434"/>
                      <a:gd name="T53" fmla="*/ 154 h 317"/>
                      <a:gd name="T54" fmla="*/ 282 w 1434"/>
                      <a:gd name="T55" fmla="*/ 165 h 317"/>
                      <a:gd name="T56" fmla="*/ 272 w 1434"/>
                      <a:gd name="T57" fmla="*/ 160 h 317"/>
                      <a:gd name="T58" fmla="*/ 157 w 1434"/>
                      <a:gd name="T59" fmla="*/ 143 h 317"/>
                      <a:gd name="T60" fmla="*/ 147 w 1434"/>
                      <a:gd name="T61" fmla="*/ 160 h 317"/>
                      <a:gd name="T62" fmla="*/ 136 w 1434"/>
                      <a:gd name="T63" fmla="*/ 161 h 317"/>
                      <a:gd name="T64" fmla="*/ 132 w 1434"/>
                      <a:gd name="T65" fmla="*/ 178 h 317"/>
                      <a:gd name="T66" fmla="*/ 116 w 1434"/>
                      <a:gd name="T67" fmla="*/ 179 h 317"/>
                      <a:gd name="T68" fmla="*/ 90 w 1434"/>
                      <a:gd name="T69" fmla="*/ 203 h 317"/>
                      <a:gd name="T70" fmla="*/ 72 w 1434"/>
                      <a:gd name="T71" fmla="*/ 188 h 317"/>
                      <a:gd name="T72" fmla="*/ 23 w 1434"/>
                      <a:gd name="T73" fmla="*/ 185 h 317"/>
                      <a:gd name="T74" fmla="*/ 18 w 1434"/>
                      <a:gd name="T75" fmla="*/ 306 h 317"/>
                      <a:gd name="T76" fmla="*/ 115 w 1434"/>
                      <a:gd name="T77" fmla="*/ 288 h 317"/>
                      <a:gd name="T78" fmla="*/ 477 w 1434"/>
                      <a:gd name="T79" fmla="*/ 271 h 317"/>
                      <a:gd name="T80" fmla="*/ 560 w 1434"/>
                      <a:gd name="T81" fmla="*/ 271 h 317"/>
                      <a:gd name="T82" fmla="*/ 604 w 1434"/>
                      <a:gd name="T83" fmla="*/ 289 h 317"/>
                      <a:gd name="T84" fmla="*/ 648 w 1434"/>
                      <a:gd name="T85" fmla="*/ 266 h 317"/>
                      <a:gd name="T86" fmla="*/ 736 w 1434"/>
                      <a:gd name="T87" fmla="*/ 265 h 317"/>
                      <a:gd name="T88" fmla="*/ 942 w 1434"/>
                      <a:gd name="T89" fmla="*/ 254 h 317"/>
                      <a:gd name="T90" fmla="*/ 999 w 1434"/>
                      <a:gd name="T91" fmla="*/ 239 h 317"/>
                      <a:gd name="T92" fmla="*/ 1021 w 1434"/>
                      <a:gd name="T93" fmla="*/ 248 h 317"/>
                      <a:gd name="T94" fmla="*/ 1104 w 1434"/>
                      <a:gd name="T95" fmla="*/ 250 h 317"/>
                      <a:gd name="T96" fmla="*/ 1204 w 1434"/>
                      <a:gd name="T97" fmla="*/ 267 h 317"/>
                      <a:gd name="T98" fmla="*/ 1434 w 1434"/>
                      <a:gd name="T99" fmla="*/ 300 h 317"/>
                      <a:gd name="T100" fmla="*/ 1428 w 1434"/>
                      <a:gd name="T101" fmla="*/ 230 h 317"/>
                      <a:gd name="T102" fmla="*/ 1394 w 1434"/>
                      <a:gd name="T103" fmla="*/ 22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34" h="317">
                        <a:moveTo>
                          <a:pt x="1394" y="229"/>
                        </a:moveTo>
                        <a:cubicBezTo>
                          <a:pt x="1385" y="229"/>
                          <a:pt x="1388" y="239"/>
                          <a:pt x="1376" y="240"/>
                        </a:cubicBezTo>
                        <a:cubicBezTo>
                          <a:pt x="1364" y="242"/>
                          <a:pt x="1333" y="218"/>
                          <a:pt x="1327" y="217"/>
                        </a:cubicBezTo>
                        <a:cubicBezTo>
                          <a:pt x="1321" y="216"/>
                          <a:pt x="1308" y="215"/>
                          <a:pt x="1295" y="207"/>
                        </a:cubicBezTo>
                        <a:cubicBezTo>
                          <a:pt x="1282" y="199"/>
                          <a:pt x="1282" y="168"/>
                          <a:pt x="1282" y="164"/>
                        </a:cubicBezTo>
                        <a:cubicBezTo>
                          <a:pt x="1283" y="159"/>
                          <a:pt x="1314" y="157"/>
                          <a:pt x="1327" y="150"/>
                        </a:cubicBezTo>
                        <a:cubicBezTo>
                          <a:pt x="1340" y="144"/>
                          <a:pt x="1339" y="132"/>
                          <a:pt x="1339" y="125"/>
                        </a:cubicBezTo>
                        <a:cubicBezTo>
                          <a:pt x="1339" y="118"/>
                          <a:pt x="1330" y="105"/>
                          <a:pt x="1323" y="103"/>
                        </a:cubicBezTo>
                        <a:cubicBezTo>
                          <a:pt x="1316" y="101"/>
                          <a:pt x="1276" y="117"/>
                          <a:pt x="1264" y="122"/>
                        </a:cubicBezTo>
                        <a:cubicBezTo>
                          <a:pt x="1252" y="128"/>
                          <a:pt x="1222" y="131"/>
                          <a:pt x="1218" y="124"/>
                        </a:cubicBezTo>
                        <a:cubicBezTo>
                          <a:pt x="1215" y="118"/>
                          <a:pt x="1218" y="108"/>
                          <a:pt x="1218" y="108"/>
                        </a:cubicBezTo>
                        <a:cubicBezTo>
                          <a:pt x="1218" y="108"/>
                          <a:pt x="1204" y="98"/>
                          <a:pt x="1203" y="84"/>
                        </a:cubicBezTo>
                        <a:cubicBezTo>
                          <a:pt x="1202" y="71"/>
                          <a:pt x="1212" y="75"/>
                          <a:pt x="1221" y="64"/>
                        </a:cubicBezTo>
                        <a:cubicBezTo>
                          <a:pt x="1230" y="52"/>
                          <a:pt x="1264" y="42"/>
                          <a:pt x="1271" y="36"/>
                        </a:cubicBezTo>
                        <a:cubicBezTo>
                          <a:pt x="1278" y="30"/>
                          <a:pt x="1267" y="12"/>
                          <a:pt x="1267" y="12"/>
                        </a:cubicBezTo>
                        <a:cubicBezTo>
                          <a:pt x="647" y="8"/>
                          <a:pt x="647" y="8"/>
                          <a:pt x="647" y="8"/>
                        </a:cubicBezTo>
                        <a:cubicBezTo>
                          <a:pt x="646" y="42"/>
                          <a:pt x="646" y="42"/>
                          <a:pt x="646" y="42"/>
                        </a:cubicBezTo>
                        <a:cubicBezTo>
                          <a:pt x="646" y="42"/>
                          <a:pt x="635" y="42"/>
                          <a:pt x="630" y="43"/>
                        </a:cubicBezTo>
                        <a:cubicBezTo>
                          <a:pt x="624" y="44"/>
                          <a:pt x="622" y="52"/>
                          <a:pt x="612" y="53"/>
                        </a:cubicBezTo>
                        <a:cubicBezTo>
                          <a:pt x="601" y="54"/>
                          <a:pt x="587" y="42"/>
                          <a:pt x="578" y="40"/>
                        </a:cubicBezTo>
                        <a:cubicBezTo>
                          <a:pt x="570" y="39"/>
                          <a:pt x="554" y="0"/>
                          <a:pt x="554" y="0"/>
                        </a:cubicBezTo>
                        <a:cubicBezTo>
                          <a:pt x="480" y="0"/>
                          <a:pt x="480" y="0"/>
                          <a:pt x="480" y="0"/>
                        </a:cubicBezTo>
                        <a:cubicBezTo>
                          <a:pt x="480" y="0"/>
                          <a:pt x="476" y="29"/>
                          <a:pt x="470" y="45"/>
                        </a:cubicBezTo>
                        <a:cubicBezTo>
                          <a:pt x="464" y="61"/>
                          <a:pt x="444" y="92"/>
                          <a:pt x="440" y="108"/>
                        </a:cubicBezTo>
                        <a:cubicBezTo>
                          <a:pt x="437" y="125"/>
                          <a:pt x="400" y="150"/>
                          <a:pt x="391" y="156"/>
                        </a:cubicBezTo>
                        <a:cubicBezTo>
                          <a:pt x="382" y="162"/>
                          <a:pt x="322" y="166"/>
                          <a:pt x="318" y="165"/>
                        </a:cubicBezTo>
                        <a:cubicBezTo>
                          <a:pt x="314" y="164"/>
                          <a:pt x="307" y="154"/>
                          <a:pt x="298" y="154"/>
                        </a:cubicBezTo>
                        <a:cubicBezTo>
                          <a:pt x="288" y="154"/>
                          <a:pt x="286" y="164"/>
                          <a:pt x="282" y="165"/>
                        </a:cubicBezTo>
                        <a:cubicBezTo>
                          <a:pt x="279" y="166"/>
                          <a:pt x="278" y="166"/>
                          <a:pt x="272" y="160"/>
                        </a:cubicBezTo>
                        <a:cubicBezTo>
                          <a:pt x="267" y="153"/>
                          <a:pt x="157" y="143"/>
                          <a:pt x="157" y="143"/>
                        </a:cubicBezTo>
                        <a:cubicBezTo>
                          <a:pt x="147" y="160"/>
                          <a:pt x="147" y="160"/>
                          <a:pt x="147" y="160"/>
                        </a:cubicBezTo>
                        <a:cubicBezTo>
                          <a:pt x="136" y="161"/>
                          <a:pt x="136" y="161"/>
                          <a:pt x="136" y="161"/>
                        </a:cubicBezTo>
                        <a:cubicBezTo>
                          <a:pt x="132" y="178"/>
                          <a:pt x="132" y="178"/>
                          <a:pt x="132" y="178"/>
                        </a:cubicBezTo>
                        <a:cubicBezTo>
                          <a:pt x="132" y="178"/>
                          <a:pt x="124" y="179"/>
                          <a:pt x="116" y="179"/>
                        </a:cubicBezTo>
                        <a:cubicBezTo>
                          <a:pt x="107" y="179"/>
                          <a:pt x="90" y="203"/>
                          <a:pt x="90" y="203"/>
                        </a:cubicBezTo>
                        <a:cubicBezTo>
                          <a:pt x="72" y="188"/>
                          <a:pt x="72" y="188"/>
                          <a:pt x="72" y="188"/>
                        </a:cubicBezTo>
                        <a:cubicBezTo>
                          <a:pt x="23" y="185"/>
                          <a:pt x="23" y="185"/>
                          <a:pt x="23" y="185"/>
                        </a:cubicBezTo>
                        <a:cubicBezTo>
                          <a:pt x="0" y="221"/>
                          <a:pt x="18" y="306"/>
                          <a:pt x="18" y="306"/>
                        </a:cubicBezTo>
                        <a:cubicBezTo>
                          <a:pt x="41" y="317"/>
                          <a:pt x="95" y="293"/>
                          <a:pt x="115" y="288"/>
                        </a:cubicBezTo>
                        <a:cubicBezTo>
                          <a:pt x="135" y="283"/>
                          <a:pt x="469" y="273"/>
                          <a:pt x="477" y="271"/>
                        </a:cubicBezTo>
                        <a:cubicBezTo>
                          <a:pt x="485" y="269"/>
                          <a:pt x="553" y="270"/>
                          <a:pt x="560" y="271"/>
                        </a:cubicBezTo>
                        <a:cubicBezTo>
                          <a:pt x="567" y="272"/>
                          <a:pt x="585" y="281"/>
                          <a:pt x="604" y="289"/>
                        </a:cubicBezTo>
                        <a:cubicBezTo>
                          <a:pt x="623" y="297"/>
                          <a:pt x="645" y="268"/>
                          <a:pt x="648" y="266"/>
                        </a:cubicBezTo>
                        <a:cubicBezTo>
                          <a:pt x="651" y="264"/>
                          <a:pt x="723" y="267"/>
                          <a:pt x="736" y="265"/>
                        </a:cubicBezTo>
                        <a:cubicBezTo>
                          <a:pt x="749" y="263"/>
                          <a:pt x="942" y="254"/>
                          <a:pt x="942" y="254"/>
                        </a:cubicBezTo>
                        <a:cubicBezTo>
                          <a:pt x="942" y="254"/>
                          <a:pt x="995" y="239"/>
                          <a:pt x="999" y="239"/>
                        </a:cubicBezTo>
                        <a:cubicBezTo>
                          <a:pt x="1003" y="239"/>
                          <a:pt x="1021" y="248"/>
                          <a:pt x="1021" y="248"/>
                        </a:cubicBezTo>
                        <a:cubicBezTo>
                          <a:pt x="1021" y="248"/>
                          <a:pt x="1067" y="248"/>
                          <a:pt x="1104" y="250"/>
                        </a:cubicBezTo>
                        <a:cubicBezTo>
                          <a:pt x="1141" y="252"/>
                          <a:pt x="1204" y="267"/>
                          <a:pt x="1204" y="267"/>
                        </a:cubicBezTo>
                        <a:cubicBezTo>
                          <a:pt x="1204" y="267"/>
                          <a:pt x="1337" y="286"/>
                          <a:pt x="1434" y="300"/>
                        </a:cubicBezTo>
                        <a:cubicBezTo>
                          <a:pt x="1431" y="271"/>
                          <a:pt x="1428" y="232"/>
                          <a:pt x="1428" y="230"/>
                        </a:cubicBezTo>
                        <a:cubicBezTo>
                          <a:pt x="1428" y="227"/>
                          <a:pt x="1402" y="229"/>
                          <a:pt x="1394" y="229"/>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Freeform 555">
                    <a:extLst>
                      <a:ext uri="{FF2B5EF4-FFF2-40B4-BE49-F238E27FC236}">
                        <a16:creationId xmlns:a16="http://schemas.microsoft.com/office/drawing/2014/main" id="{72677E2B-52D3-32F2-20A5-14E33E10A53C}"/>
                      </a:ext>
                    </a:extLst>
                  </p:cNvPr>
                  <p:cNvSpPr>
                    <a:spLocks noChangeAspect="1"/>
                  </p:cNvSpPr>
                  <p:nvPr/>
                </p:nvSpPr>
                <p:spPr bwMode="auto">
                  <a:xfrm>
                    <a:off x="4398003" y="3932938"/>
                    <a:ext cx="645686" cy="749336"/>
                  </a:xfrm>
                  <a:custGeom>
                    <a:avLst/>
                    <a:gdLst>
                      <a:gd name="T0" fmla="*/ 152 w 1652"/>
                      <a:gd name="T1" fmla="*/ 1247 h 1918"/>
                      <a:gd name="T2" fmla="*/ 203 w 1652"/>
                      <a:gd name="T3" fmla="*/ 1189 h 1918"/>
                      <a:gd name="T4" fmla="*/ 226 w 1652"/>
                      <a:gd name="T5" fmla="*/ 1352 h 1918"/>
                      <a:gd name="T6" fmla="*/ 390 w 1652"/>
                      <a:gd name="T7" fmla="*/ 1623 h 1918"/>
                      <a:gd name="T8" fmla="*/ 543 w 1652"/>
                      <a:gd name="T9" fmla="*/ 1632 h 1918"/>
                      <a:gd name="T10" fmla="*/ 575 w 1652"/>
                      <a:gd name="T11" fmla="*/ 1557 h 1918"/>
                      <a:gd name="T12" fmla="*/ 717 w 1652"/>
                      <a:gd name="T13" fmla="*/ 1568 h 1918"/>
                      <a:gd name="T14" fmla="*/ 868 w 1652"/>
                      <a:gd name="T15" fmla="*/ 1653 h 1918"/>
                      <a:gd name="T16" fmla="*/ 917 w 1652"/>
                      <a:gd name="T17" fmla="*/ 1804 h 1918"/>
                      <a:gd name="T18" fmla="*/ 917 w 1652"/>
                      <a:gd name="T19" fmla="*/ 1904 h 1918"/>
                      <a:gd name="T20" fmla="*/ 1088 w 1652"/>
                      <a:gd name="T21" fmla="*/ 1883 h 1918"/>
                      <a:gd name="T22" fmla="*/ 1174 w 1652"/>
                      <a:gd name="T23" fmla="*/ 1850 h 1918"/>
                      <a:gd name="T24" fmla="*/ 1274 w 1652"/>
                      <a:gd name="T25" fmla="*/ 1854 h 1918"/>
                      <a:gd name="T26" fmla="*/ 1250 w 1652"/>
                      <a:gd name="T27" fmla="*/ 1673 h 1918"/>
                      <a:gd name="T28" fmla="*/ 1254 w 1652"/>
                      <a:gd name="T29" fmla="*/ 1587 h 1918"/>
                      <a:gd name="T30" fmla="*/ 1243 w 1652"/>
                      <a:gd name="T31" fmla="*/ 1484 h 1918"/>
                      <a:gd name="T32" fmla="*/ 1197 w 1652"/>
                      <a:gd name="T33" fmla="*/ 1423 h 1918"/>
                      <a:gd name="T34" fmla="*/ 1179 w 1652"/>
                      <a:gd name="T35" fmla="*/ 1322 h 1918"/>
                      <a:gd name="T36" fmla="*/ 1212 w 1652"/>
                      <a:gd name="T37" fmla="*/ 1194 h 1918"/>
                      <a:gd name="T38" fmla="*/ 1319 w 1652"/>
                      <a:gd name="T39" fmla="*/ 1184 h 1918"/>
                      <a:gd name="T40" fmla="*/ 1346 w 1652"/>
                      <a:gd name="T41" fmla="*/ 1145 h 1918"/>
                      <a:gd name="T42" fmla="*/ 1405 w 1652"/>
                      <a:gd name="T43" fmla="*/ 1135 h 1918"/>
                      <a:gd name="T44" fmla="*/ 1460 w 1652"/>
                      <a:gd name="T45" fmla="*/ 1183 h 1918"/>
                      <a:gd name="T46" fmla="*/ 1500 w 1652"/>
                      <a:gd name="T47" fmla="*/ 1178 h 1918"/>
                      <a:gd name="T48" fmla="*/ 1521 w 1652"/>
                      <a:gd name="T49" fmla="*/ 1177 h 1918"/>
                      <a:gd name="T50" fmla="*/ 1541 w 1652"/>
                      <a:gd name="T51" fmla="*/ 1136 h 1918"/>
                      <a:gd name="T52" fmla="*/ 1601 w 1652"/>
                      <a:gd name="T53" fmla="*/ 1124 h 1918"/>
                      <a:gd name="T54" fmla="*/ 1631 w 1652"/>
                      <a:gd name="T55" fmla="*/ 1053 h 1918"/>
                      <a:gd name="T56" fmla="*/ 1603 w 1652"/>
                      <a:gd name="T57" fmla="*/ 985 h 1918"/>
                      <a:gd name="T58" fmla="*/ 1584 w 1652"/>
                      <a:gd name="T59" fmla="*/ 901 h 1918"/>
                      <a:gd name="T60" fmla="*/ 1509 w 1652"/>
                      <a:gd name="T61" fmla="*/ 808 h 1918"/>
                      <a:gd name="T62" fmla="*/ 1447 w 1652"/>
                      <a:gd name="T63" fmla="*/ 741 h 1918"/>
                      <a:gd name="T64" fmla="*/ 1395 w 1652"/>
                      <a:gd name="T65" fmla="*/ 619 h 1918"/>
                      <a:gd name="T66" fmla="*/ 1301 w 1652"/>
                      <a:gd name="T67" fmla="*/ 459 h 1918"/>
                      <a:gd name="T68" fmla="*/ 1336 w 1652"/>
                      <a:gd name="T69" fmla="*/ 308 h 1918"/>
                      <a:gd name="T70" fmla="*/ 1407 w 1652"/>
                      <a:gd name="T71" fmla="*/ 238 h 1918"/>
                      <a:gd name="T72" fmla="*/ 1449 w 1652"/>
                      <a:gd name="T73" fmla="*/ 202 h 1918"/>
                      <a:gd name="T74" fmla="*/ 1370 w 1652"/>
                      <a:gd name="T75" fmla="*/ 178 h 1918"/>
                      <a:gd name="T76" fmla="*/ 1216 w 1652"/>
                      <a:gd name="T77" fmla="*/ 185 h 1918"/>
                      <a:gd name="T78" fmla="*/ 1174 w 1652"/>
                      <a:gd name="T79" fmla="*/ 132 h 1918"/>
                      <a:gd name="T80" fmla="*/ 1138 w 1652"/>
                      <a:gd name="T81" fmla="*/ 83 h 1918"/>
                      <a:gd name="T82" fmla="*/ 1071 w 1652"/>
                      <a:gd name="T83" fmla="*/ 0 h 1918"/>
                      <a:gd name="T84" fmla="*/ 923 w 1652"/>
                      <a:gd name="T85" fmla="*/ 133 h 1918"/>
                      <a:gd name="T86" fmla="*/ 825 w 1652"/>
                      <a:gd name="T87" fmla="*/ 200 h 1918"/>
                      <a:gd name="T88" fmla="*/ 733 w 1652"/>
                      <a:gd name="T89" fmla="*/ 248 h 1918"/>
                      <a:gd name="T90" fmla="*/ 645 w 1652"/>
                      <a:gd name="T91" fmla="*/ 287 h 1918"/>
                      <a:gd name="T92" fmla="*/ 487 w 1652"/>
                      <a:gd name="T93" fmla="*/ 359 h 1918"/>
                      <a:gd name="T94" fmla="*/ 368 w 1652"/>
                      <a:gd name="T95" fmla="*/ 350 h 1918"/>
                      <a:gd name="T96" fmla="*/ 277 w 1652"/>
                      <a:gd name="T97" fmla="*/ 417 h 1918"/>
                      <a:gd name="T98" fmla="*/ 226 w 1652"/>
                      <a:gd name="T99" fmla="*/ 469 h 1918"/>
                      <a:gd name="T100" fmla="*/ 162 w 1652"/>
                      <a:gd name="T101" fmla="*/ 520 h 1918"/>
                      <a:gd name="T102" fmla="*/ 105 w 1652"/>
                      <a:gd name="T103" fmla="*/ 496 h 1918"/>
                      <a:gd name="T104" fmla="*/ 50 w 1652"/>
                      <a:gd name="T105" fmla="*/ 547 h 1918"/>
                      <a:gd name="T106" fmla="*/ 1 w 1652"/>
                      <a:gd name="T107" fmla="*/ 782 h 1918"/>
                      <a:gd name="T108" fmla="*/ 23 w 1652"/>
                      <a:gd name="T109" fmla="*/ 1016 h 1918"/>
                      <a:gd name="T110" fmla="*/ 110 w 1652"/>
                      <a:gd name="T111" fmla="*/ 1084 h 1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52" h="1918">
                        <a:moveTo>
                          <a:pt x="110" y="1084"/>
                        </a:moveTo>
                        <a:cubicBezTo>
                          <a:pt x="117" y="1093"/>
                          <a:pt x="142" y="1119"/>
                          <a:pt x="145" y="1133"/>
                        </a:cubicBezTo>
                        <a:cubicBezTo>
                          <a:pt x="148" y="1148"/>
                          <a:pt x="152" y="1247"/>
                          <a:pt x="152" y="1247"/>
                        </a:cubicBezTo>
                        <a:cubicBezTo>
                          <a:pt x="152" y="1247"/>
                          <a:pt x="156" y="1269"/>
                          <a:pt x="159" y="1269"/>
                        </a:cubicBezTo>
                        <a:cubicBezTo>
                          <a:pt x="162" y="1269"/>
                          <a:pt x="182" y="1269"/>
                          <a:pt x="182" y="1269"/>
                        </a:cubicBezTo>
                        <a:cubicBezTo>
                          <a:pt x="182" y="1269"/>
                          <a:pt x="181" y="1197"/>
                          <a:pt x="203" y="1189"/>
                        </a:cubicBezTo>
                        <a:cubicBezTo>
                          <a:pt x="226" y="1182"/>
                          <a:pt x="246" y="1209"/>
                          <a:pt x="248" y="1222"/>
                        </a:cubicBezTo>
                        <a:cubicBezTo>
                          <a:pt x="251" y="1236"/>
                          <a:pt x="254" y="1242"/>
                          <a:pt x="251" y="1249"/>
                        </a:cubicBezTo>
                        <a:cubicBezTo>
                          <a:pt x="248" y="1256"/>
                          <a:pt x="224" y="1316"/>
                          <a:pt x="226" y="1352"/>
                        </a:cubicBezTo>
                        <a:cubicBezTo>
                          <a:pt x="228" y="1387"/>
                          <a:pt x="212" y="1398"/>
                          <a:pt x="265" y="1462"/>
                        </a:cubicBezTo>
                        <a:cubicBezTo>
                          <a:pt x="319" y="1526"/>
                          <a:pt x="353" y="1577"/>
                          <a:pt x="364" y="1592"/>
                        </a:cubicBezTo>
                        <a:cubicBezTo>
                          <a:pt x="375" y="1606"/>
                          <a:pt x="381" y="1615"/>
                          <a:pt x="390" y="1623"/>
                        </a:cubicBezTo>
                        <a:cubicBezTo>
                          <a:pt x="400" y="1631"/>
                          <a:pt x="415" y="1649"/>
                          <a:pt x="431" y="1653"/>
                        </a:cubicBezTo>
                        <a:cubicBezTo>
                          <a:pt x="448" y="1656"/>
                          <a:pt x="475" y="1669"/>
                          <a:pt x="487" y="1663"/>
                        </a:cubicBezTo>
                        <a:cubicBezTo>
                          <a:pt x="498" y="1657"/>
                          <a:pt x="525" y="1657"/>
                          <a:pt x="543" y="1632"/>
                        </a:cubicBezTo>
                        <a:cubicBezTo>
                          <a:pt x="561" y="1608"/>
                          <a:pt x="559" y="1606"/>
                          <a:pt x="565" y="1601"/>
                        </a:cubicBezTo>
                        <a:cubicBezTo>
                          <a:pt x="570" y="1595"/>
                          <a:pt x="578" y="1590"/>
                          <a:pt x="578" y="1585"/>
                        </a:cubicBezTo>
                        <a:cubicBezTo>
                          <a:pt x="578" y="1581"/>
                          <a:pt x="571" y="1561"/>
                          <a:pt x="575" y="1557"/>
                        </a:cubicBezTo>
                        <a:cubicBezTo>
                          <a:pt x="579" y="1552"/>
                          <a:pt x="589" y="1512"/>
                          <a:pt x="609" y="1522"/>
                        </a:cubicBezTo>
                        <a:cubicBezTo>
                          <a:pt x="629" y="1531"/>
                          <a:pt x="645" y="1600"/>
                          <a:pt x="663" y="1595"/>
                        </a:cubicBezTo>
                        <a:cubicBezTo>
                          <a:pt x="682" y="1591"/>
                          <a:pt x="705" y="1568"/>
                          <a:pt x="717" y="1568"/>
                        </a:cubicBezTo>
                        <a:cubicBezTo>
                          <a:pt x="729" y="1568"/>
                          <a:pt x="771" y="1569"/>
                          <a:pt x="785" y="1576"/>
                        </a:cubicBezTo>
                        <a:cubicBezTo>
                          <a:pt x="799" y="1584"/>
                          <a:pt x="820" y="1582"/>
                          <a:pt x="834" y="1601"/>
                        </a:cubicBezTo>
                        <a:cubicBezTo>
                          <a:pt x="849" y="1619"/>
                          <a:pt x="862" y="1628"/>
                          <a:pt x="868" y="1653"/>
                        </a:cubicBezTo>
                        <a:cubicBezTo>
                          <a:pt x="874" y="1678"/>
                          <a:pt x="881" y="1698"/>
                          <a:pt x="905" y="1706"/>
                        </a:cubicBezTo>
                        <a:cubicBezTo>
                          <a:pt x="928" y="1713"/>
                          <a:pt x="910" y="1788"/>
                          <a:pt x="910" y="1788"/>
                        </a:cubicBezTo>
                        <a:cubicBezTo>
                          <a:pt x="910" y="1788"/>
                          <a:pt x="916" y="1801"/>
                          <a:pt x="917" y="1804"/>
                        </a:cubicBezTo>
                        <a:cubicBezTo>
                          <a:pt x="917" y="1807"/>
                          <a:pt x="917" y="1843"/>
                          <a:pt x="912" y="1854"/>
                        </a:cubicBezTo>
                        <a:cubicBezTo>
                          <a:pt x="906" y="1865"/>
                          <a:pt x="870" y="1901"/>
                          <a:pt x="881" y="1901"/>
                        </a:cubicBezTo>
                        <a:cubicBezTo>
                          <a:pt x="892" y="1901"/>
                          <a:pt x="906" y="1902"/>
                          <a:pt x="917" y="1904"/>
                        </a:cubicBezTo>
                        <a:cubicBezTo>
                          <a:pt x="927" y="1907"/>
                          <a:pt x="939" y="1918"/>
                          <a:pt x="951" y="1918"/>
                        </a:cubicBezTo>
                        <a:cubicBezTo>
                          <a:pt x="963" y="1918"/>
                          <a:pt x="1029" y="1918"/>
                          <a:pt x="1047" y="1907"/>
                        </a:cubicBezTo>
                        <a:cubicBezTo>
                          <a:pt x="1065" y="1896"/>
                          <a:pt x="1087" y="1881"/>
                          <a:pt x="1088" y="1883"/>
                        </a:cubicBezTo>
                        <a:cubicBezTo>
                          <a:pt x="1089" y="1884"/>
                          <a:pt x="1099" y="1898"/>
                          <a:pt x="1107" y="1896"/>
                        </a:cubicBezTo>
                        <a:cubicBezTo>
                          <a:pt x="1115" y="1895"/>
                          <a:pt x="1130" y="1880"/>
                          <a:pt x="1145" y="1869"/>
                        </a:cubicBezTo>
                        <a:cubicBezTo>
                          <a:pt x="1159" y="1857"/>
                          <a:pt x="1165" y="1853"/>
                          <a:pt x="1174" y="1850"/>
                        </a:cubicBezTo>
                        <a:cubicBezTo>
                          <a:pt x="1183" y="1848"/>
                          <a:pt x="1203" y="1817"/>
                          <a:pt x="1227" y="1816"/>
                        </a:cubicBezTo>
                        <a:cubicBezTo>
                          <a:pt x="1250" y="1816"/>
                          <a:pt x="1257" y="1813"/>
                          <a:pt x="1264" y="1831"/>
                        </a:cubicBezTo>
                        <a:cubicBezTo>
                          <a:pt x="1268" y="1841"/>
                          <a:pt x="1271" y="1848"/>
                          <a:pt x="1274" y="1854"/>
                        </a:cubicBezTo>
                        <a:cubicBezTo>
                          <a:pt x="1283" y="1842"/>
                          <a:pt x="1293" y="1825"/>
                          <a:pt x="1293" y="1817"/>
                        </a:cubicBezTo>
                        <a:cubicBezTo>
                          <a:pt x="1293" y="1804"/>
                          <a:pt x="1249" y="1731"/>
                          <a:pt x="1250" y="1724"/>
                        </a:cubicBezTo>
                        <a:cubicBezTo>
                          <a:pt x="1250" y="1717"/>
                          <a:pt x="1250" y="1675"/>
                          <a:pt x="1250" y="1673"/>
                        </a:cubicBezTo>
                        <a:cubicBezTo>
                          <a:pt x="1250" y="1672"/>
                          <a:pt x="1262" y="1659"/>
                          <a:pt x="1262" y="1659"/>
                        </a:cubicBezTo>
                        <a:cubicBezTo>
                          <a:pt x="1262" y="1659"/>
                          <a:pt x="1234" y="1641"/>
                          <a:pt x="1239" y="1633"/>
                        </a:cubicBezTo>
                        <a:cubicBezTo>
                          <a:pt x="1243" y="1624"/>
                          <a:pt x="1245" y="1596"/>
                          <a:pt x="1254" y="1587"/>
                        </a:cubicBezTo>
                        <a:cubicBezTo>
                          <a:pt x="1263" y="1577"/>
                          <a:pt x="1263" y="1529"/>
                          <a:pt x="1263" y="1529"/>
                        </a:cubicBezTo>
                        <a:cubicBezTo>
                          <a:pt x="1263" y="1529"/>
                          <a:pt x="1270" y="1514"/>
                          <a:pt x="1266" y="1507"/>
                        </a:cubicBezTo>
                        <a:cubicBezTo>
                          <a:pt x="1262" y="1501"/>
                          <a:pt x="1243" y="1491"/>
                          <a:pt x="1243" y="1484"/>
                        </a:cubicBezTo>
                        <a:cubicBezTo>
                          <a:pt x="1243" y="1477"/>
                          <a:pt x="1242" y="1460"/>
                          <a:pt x="1234" y="1457"/>
                        </a:cubicBezTo>
                        <a:cubicBezTo>
                          <a:pt x="1226" y="1454"/>
                          <a:pt x="1220" y="1455"/>
                          <a:pt x="1217" y="1446"/>
                        </a:cubicBezTo>
                        <a:cubicBezTo>
                          <a:pt x="1213" y="1437"/>
                          <a:pt x="1202" y="1431"/>
                          <a:pt x="1197" y="1423"/>
                        </a:cubicBezTo>
                        <a:cubicBezTo>
                          <a:pt x="1193" y="1415"/>
                          <a:pt x="1195" y="1410"/>
                          <a:pt x="1190" y="1405"/>
                        </a:cubicBezTo>
                        <a:cubicBezTo>
                          <a:pt x="1184" y="1399"/>
                          <a:pt x="1154" y="1393"/>
                          <a:pt x="1153" y="1377"/>
                        </a:cubicBezTo>
                        <a:cubicBezTo>
                          <a:pt x="1153" y="1360"/>
                          <a:pt x="1179" y="1322"/>
                          <a:pt x="1179" y="1322"/>
                        </a:cubicBezTo>
                        <a:cubicBezTo>
                          <a:pt x="1179" y="1322"/>
                          <a:pt x="1180" y="1241"/>
                          <a:pt x="1186" y="1231"/>
                        </a:cubicBezTo>
                        <a:cubicBezTo>
                          <a:pt x="1191" y="1221"/>
                          <a:pt x="1194" y="1194"/>
                          <a:pt x="1194" y="1194"/>
                        </a:cubicBezTo>
                        <a:cubicBezTo>
                          <a:pt x="1212" y="1194"/>
                          <a:pt x="1212" y="1194"/>
                          <a:pt x="1212" y="1194"/>
                        </a:cubicBezTo>
                        <a:cubicBezTo>
                          <a:pt x="1212" y="1194"/>
                          <a:pt x="1232" y="1220"/>
                          <a:pt x="1256" y="1217"/>
                        </a:cubicBezTo>
                        <a:cubicBezTo>
                          <a:pt x="1281" y="1213"/>
                          <a:pt x="1297" y="1215"/>
                          <a:pt x="1305" y="1209"/>
                        </a:cubicBezTo>
                        <a:cubicBezTo>
                          <a:pt x="1314" y="1203"/>
                          <a:pt x="1319" y="1184"/>
                          <a:pt x="1319" y="1184"/>
                        </a:cubicBezTo>
                        <a:cubicBezTo>
                          <a:pt x="1319" y="1184"/>
                          <a:pt x="1306" y="1177"/>
                          <a:pt x="1309" y="1170"/>
                        </a:cubicBezTo>
                        <a:cubicBezTo>
                          <a:pt x="1312" y="1162"/>
                          <a:pt x="1328" y="1147"/>
                          <a:pt x="1331" y="1147"/>
                        </a:cubicBezTo>
                        <a:cubicBezTo>
                          <a:pt x="1334" y="1147"/>
                          <a:pt x="1346" y="1149"/>
                          <a:pt x="1346" y="1145"/>
                        </a:cubicBezTo>
                        <a:cubicBezTo>
                          <a:pt x="1346" y="1141"/>
                          <a:pt x="1344" y="1128"/>
                          <a:pt x="1349" y="1126"/>
                        </a:cubicBezTo>
                        <a:cubicBezTo>
                          <a:pt x="1355" y="1124"/>
                          <a:pt x="1364" y="1117"/>
                          <a:pt x="1380" y="1118"/>
                        </a:cubicBezTo>
                        <a:cubicBezTo>
                          <a:pt x="1396" y="1119"/>
                          <a:pt x="1397" y="1134"/>
                          <a:pt x="1405" y="1135"/>
                        </a:cubicBezTo>
                        <a:cubicBezTo>
                          <a:pt x="1412" y="1136"/>
                          <a:pt x="1432" y="1136"/>
                          <a:pt x="1438" y="1148"/>
                        </a:cubicBezTo>
                        <a:cubicBezTo>
                          <a:pt x="1444" y="1159"/>
                          <a:pt x="1448" y="1172"/>
                          <a:pt x="1449" y="1174"/>
                        </a:cubicBezTo>
                        <a:cubicBezTo>
                          <a:pt x="1451" y="1175"/>
                          <a:pt x="1460" y="1183"/>
                          <a:pt x="1460" y="1183"/>
                        </a:cubicBezTo>
                        <a:cubicBezTo>
                          <a:pt x="1460" y="1183"/>
                          <a:pt x="1457" y="1217"/>
                          <a:pt x="1468" y="1210"/>
                        </a:cubicBezTo>
                        <a:cubicBezTo>
                          <a:pt x="1479" y="1204"/>
                          <a:pt x="1484" y="1198"/>
                          <a:pt x="1485" y="1192"/>
                        </a:cubicBezTo>
                        <a:cubicBezTo>
                          <a:pt x="1486" y="1186"/>
                          <a:pt x="1497" y="1178"/>
                          <a:pt x="1500" y="1178"/>
                        </a:cubicBezTo>
                        <a:cubicBezTo>
                          <a:pt x="1503" y="1178"/>
                          <a:pt x="1515" y="1178"/>
                          <a:pt x="1515" y="1178"/>
                        </a:cubicBezTo>
                        <a:cubicBezTo>
                          <a:pt x="1515" y="1178"/>
                          <a:pt x="1515" y="1180"/>
                          <a:pt x="1515" y="1182"/>
                        </a:cubicBezTo>
                        <a:cubicBezTo>
                          <a:pt x="1517" y="1181"/>
                          <a:pt x="1520" y="1179"/>
                          <a:pt x="1521" y="1177"/>
                        </a:cubicBezTo>
                        <a:cubicBezTo>
                          <a:pt x="1525" y="1170"/>
                          <a:pt x="1524" y="1159"/>
                          <a:pt x="1527" y="1158"/>
                        </a:cubicBezTo>
                        <a:cubicBezTo>
                          <a:pt x="1530" y="1157"/>
                          <a:pt x="1535" y="1156"/>
                          <a:pt x="1536" y="1154"/>
                        </a:cubicBezTo>
                        <a:cubicBezTo>
                          <a:pt x="1537" y="1151"/>
                          <a:pt x="1540" y="1136"/>
                          <a:pt x="1541" y="1136"/>
                        </a:cubicBezTo>
                        <a:cubicBezTo>
                          <a:pt x="1543" y="1136"/>
                          <a:pt x="1579" y="1135"/>
                          <a:pt x="1579" y="1134"/>
                        </a:cubicBezTo>
                        <a:cubicBezTo>
                          <a:pt x="1580" y="1133"/>
                          <a:pt x="1580" y="1126"/>
                          <a:pt x="1585" y="1125"/>
                        </a:cubicBezTo>
                        <a:cubicBezTo>
                          <a:pt x="1588" y="1125"/>
                          <a:pt x="1594" y="1125"/>
                          <a:pt x="1601" y="1124"/>
                        </a:cubicBezTo>
                        <a:cubicBezTo>
                          <a:pt x="1600" y="1122"/>
                          <a:pt x="1599" y="1121"/>
                          <a:pt x="1599" y="1119"/>
                        </a:cubicBezTo>
                        <a:cubicBezTo>
                          <a:pt x="1600" y="1114"/>
                          <a:pt x="1627" y="1115"/>
                          <a:pt x="1627" y="1109"/>
                        </a:cubicBezTo>
                        <a:cubicBezTo>
                          <a:pt x="1627" y="1102"/>
                          <a:pt x="1626" y="1069"/>
                          <a:pt x="1631" y="1053"/>
                        </a:cubicBezTo>
                        <a:cubicBezTo>
                          <a:pt x="1634" y="1043"/>
                          <a:pt x="1642" y="1032"/>
                          <a:pt x="1647" y="1025"/>
                        </a:cubicBezTo>
                        <a:cubicBezTo>
                          <a:pt x="1650" y="1022"/>
                          <a:pt x="1652" y="1019"/>
                          <a:pt x="1652" y="1018"/>
                        </a:cubicBezTo>
                        <a:cubicBezTo>
                          <a:pt x="1652" y="1016"/>
                          <a:pt x="1609" y="1004"/>
                          <a:pt x="1603" y="985"/>
                        </a:cubicBezTo>
                        <a:cubicBezTo>
                          <a:pt x="1597" y="967"/>
                          <a:pt x="1592" y="945"/>
                          <a:pt x="1592" y="945"/>
                        </a:cubicBezTo>
                        <a:cubicBezTo>
                          <a:pt x="1592" y="945"/>
                          <a:pt x="1601" y="935"/>
                          <a:pt x="1601" y="934"/>
                        </a:cubicBezTo>
                        <a:cubicBezTo>
                          <a:pt x="1600" y="932"/>
                          <a:pt x="1586" y="914"/>
                          <a:pt x="1584" y="901"/>
                        </a:cubicBezTo>
                        <a:cubicBezTo>
                          <a:pt x="1583" y="888"/>
                          <a:pt x="1580" y="870"/>
                          <a:pt x="1568" y="862"/>
                        </a:cubicBezTo>
                        <a:cubicBezTo>
                          <a:pt x="1555" y="853"/>
                          <a:pt x="1531" y="847"/>
                          <a:pt x="1526" y="830"/>
                        </a:cubicBezTo>
                        <a:cubicBezTo>
                          <a:pt x="1520" y="813"/>
                          <a:pt x="1516" y="814"/>
                          <a:pt x="1509" y="808"/>
                        </a:cubicBezTo>
                        <a:cubicBezTo>
                          <a:pt x="1503" y="803"/>
                          <a:pt x="1480" y="782"/>
                          <a:pt x="1479" y="779"/>
                        </a:cubicBezTo>
                        <a:cubicBezTo>
                          <a:pt x="1479" y="776"/>
                          <a:pt x="1476" y="762"/>
                          <a:pt x="1473" y="759"/>
                        </a:cubicBezTo>
                        <a:cubicBezTo>
                          <a:pt x="1471" y="756"/>
                          <a:pt x="1448" y="757"/>
                          <a:pt x="1447" y="741"/>
                        </a:cubicBezTo>
                        <a:cubicBezTo>
                          <a:pt x="1445" y="725"/>
                          <a:pt x="1442" y="720"/>
                          <a:pt x="1441" y="719"/>
                        </a:cubicBezTo>
                        <a:cubicBezTo>
                          <a:pt x="1441" y="717"/>
                          <a:pt x="1399" y="641"/>
                          <a:pt x="1397" y="636"/>
                        </a:cubicBezTo>
                        <a:cubicBezTo>
                          <a:pt x="1395" y="631"/>
                          <a:pt x="1395" y="619"/>
                          <a:pt x="1395" y="619"/>
                        </a:cubicBezTo>
                        <a:cubicBezTo>
                          <a:pt x="1395" y="619"/>
                          <a:pt x="1387" y="623"/>
                          <a:pt x="1383" y="613"/>
                        </a:cubicBezTo>
                        <a:cubicBezTo>
                          <a:pt x="1378" y="602"/>
                          <a:pt x="1332" y="525"/>
                          <a:pt x="1324" y="510"/>
                        </a:cubicBezTo>
                        <a:cubicBezTo>
                          <a:pt x="1315" y="494"/>
                          <a:pt x="1301" y="462"/>
                          <a:pt x="1301" y="459"/>
                        </a:cubicBezTo>
                        <a:cubicBezTo>
                          <a:pt x="1301" y="457"/>
                          <a:pt x="1302" y="356"/>
                          <a:pt x="1302" y="356"/>
                        </a:cubicBezTo>
                        <a:cubicBezTo>
                          <a:pt x="1302" y="356"/>
                          <a:pt x="1311" y="355"/>
                          <a:pt x="1314" y="352"/>
                        </a:cubicBezTo>
                        <a:cubicBezTo>
                          <a:pt x="1318" y="349"/>
                          <a:pt x="1331" y="315"/>
                          <a:pt x="1336" y="308"/>
                        </a:cubicBezTo>
                        <a:cubicBezTo>
                          <a:pt x="1341" y="301"/>
                          <a:pt x="1353" y="280"/>
                          <a:pt x="1356" y="277"/>
                        </a:cubicBezTo>
                        <a:cubicBezTo>
                          <a:pt x="1360" y="274"/>
                          <a:pt x="1367" y="261"/>
                          <a:pt x="1378" y="254"/>
                        </a:cubicBezTo>
                        <a:cubicBezTo>
                          <a:pt x="1389" y="247"/>
                          <a:pt x="1397" y="238"/>
                          <a:pt x="1407" y="238"/>
                        </a:cubicBezTo>
                        <a:cubicBezTo>
                          <a:pt x="1418" y="238"/>
                          <a:pt x="1437" y="230"/>
                          <a:pt x="1438" y="223"/>
                        </a:cubicBezTo>
                        <a:cubicBezTo>
                          <a:pt x="1438" y="217"/>
                          <a:pt x="1438" y="202"/>
                          <a:pt x="1438" y="202"/>
                        </a:cubicBezTo>
                        <a:cubicBezTo>
                          <a:pt x="1449" y="202"/>
                          <a:pt x="1449" y="202"/>
                          <a:pt x="1449" y="202"/>
                        </a:cubicBezTo>
                        <a:cubicBezTo>
                          <a:pt x="1449" y="202"/>
                          <a:pt x="1445" y="180"/>
                          <a:pt x="1444" y="178"/>
                        </a:cubicBezTo>
                        <a:cubicBezTo>
                          <a:pt x="1443" y="176"/>
                          <a:pt x="1426" y="150"/>
                          <a:pt x="1411" y="154"/>
                        </a:cubicBezTo>
                        <a:cubicBezTo>
                          <a:pt x="1396" y="158"/>
                          <a:pt x="1371" y="176"/>
                          <a:pt x="1370" y="178"/>
                        </a:cubicBezTo>
                        <a:cubicBezTo>
                          <a:pt x="1368" y="180"/>
                          <a:pt x="1320" y="236"/>
                          <a:pt x="1320" y="236"/>
                        </a:cubicBezTo>
                        <a:cubicBezTo>
                          <a:pt x="1320" y="236"/>
                          <a:pt x="1303" y="238"/>
                          <a:pt x="1295" y="237"/>
                        </a:cubicBezTo>
                        <a:cubicBezTo>
                          <a:pt x="1286" y="236"/>
                          <a:pt x="1230" y="203"/>
                          <a:pt x="1216" y="185"/>
                        </a:cubicBezTo>
                        <a:cubicBezTo>
                          <a:pt x="1203" y="166"/>
                          <a:pt x="1203" y="164"/>
                          <a:pt x="1199" y="162"/>
                        </a:cubicBezTo>
                        <a:cubicBezTo>
                          <a:pt x="1195" y="160"/>
                          <a:pt x="1181" y="153"/>
                          <a:pt x="1181" y="151"/>
                        </a:cubicBezTo>
                        <a:cubicBezTo>
                          <a:pt x="1180" y="149"/>
                          <a:pt x="1174" y="132"/>
                          <a:pt x="1174" y="132"/>
                        </a:cubicBezTo>
                        <a:cubicBezTo>
                          <a:pt x="1174" y="132"/>
                          <a:pt x="1153" y="138"/>
                          <a:pt x="1151" y="132"/>
                        </a:cubicBezTo>
                        <a:cubicBezTo>
                          <a:pt x="1149" y="126"/>
                          <a:pt x="1131" y="99"/>
                          <a:pt x="1131" y="97"/>
                        </a:cubicBezTo>
                        <a:cubicBezTo>
                          <a:pt x="1131" y="96"/>
                          <a:pt x="1138" y="83"/>
                          <a:pt x="1138" y="83"/>
                        </a:cubicBezTo>
                        <a:cubicBezTo>
                          <a:pt x="1138" y="83"/>
                          <a:pt x="1123" y="74"/>
                          <a:pt x="1123" y="62"/>
                        </a:cubicBezTo>
                        <a:cubicBezTo>
                          <a:pt x="1123" y="51"/>
                          <a:pt x="1108" y="25"/>
                          <a:pt x="1105" y="24"/>
                        </a:cubicBezTo>
                        <a:cubicBezTo>
                          <a:pt x="1102" y="23"/>
                          <a:pt x="1071" y="0"/>
                          <a:pt x="1071" y="0"/>
                        </a:cubicBezTo>
                        <a:cubicBezTo>
                          <a:pt x="1007" y="1"/>
                          <a:pt x="1007" y="1"/>
                          <a:pt x="1007" y="1"/>
                        </a:cubicBezTo>
                        <a:cubicBezTo>
                          <a:pt x="1007" y="1"/>
                          <a:pt x="942" y="27"/>
                          <a:pt x="935" y="54"/>
                        </a:cubicBezTo>
                        <a:cubicBezTo>
                          <a:pt x="927" y="81"/>
                          <a:pt x="923" y="131"/>
                          <a:pt x="923" y="133"/>
                        </a:cubicBezTo>
                        <a:cubicBezTo>
                          <a:pt x="923" y="135"/>
                          <a:pt x="904" y="154"/>
                          <a:pt x="890" y="167"/>
                        </a:cubicBezTo>
                        <a:cubicBezTo>
                          <a:pt x="877" y="180"/>
                          <a:pt x="866" y="182"/>
                          <a:pt x="860" y="185"/>
                        </a:cubicBezTo>
                        <a:cubicBezTo>
                          <a:pt x="854" y="188"/>
                          <a:pt x="836" y="187"/>
                          <a:pt x="825" y="200"/>
                        </a:cubicBezTo>
                        <a:cubicBezTo>
                          <a:pt x="815" y="212"/>
                          <a:pt x="795" y="224"/>
                          <a:pt x="791" y="227"/>
                        </a:cubicBezTo>
                        <a:cubicBezTo>
                          <a:pt x="788" y="231"/>
                          <a:pt x="771" y="241"/>
                          <a:pt x="769" y="241"/>
                        </a:cubicBezTo>
                        <a:cubicBezTo>
                          <a:pt x="767" y="241"/>
                          <a:pt x="733" y="248"/>
                          <a:pt x="733" y="248"/>
                        </a:cubicBezTo>
                        <a:cubicBezTo>
                          <a:pt x="733" y="248"/>
                          <a:pt x="693" y="253"/>
                          <a:pt x="691" y="255"/>
                        </a:cubicBezTo>
                        <a:cubicBezTo>
                          <a:pt x="690" y="258"/>
                          <a:pt x="683" y="269"/>
                          <a:pt x="672" y="271"/>
                        </a:cubicBezTo>
                        <a:cubicBezTo>
                          <a:pt x="661" y="274"/>
                          <a:pt x="648" y="285"/>
                          <a:pt x="645" y="287"/>
                        </a:cubicBezTo>
                        <a:cubicBezTo>
                          <a:pt x="643" y="289"/>
                          <a:pt x="593" y="325"/>
                          <a:pt x="593" y="325"/>
                        </a:cubicBezTo>
                        <a:cubicBezTo>
                          <a:pt x="535" y="323"/>
                          <a:pt x="535" y="323"/>
                          <a:pt x="535" y="323"/>
                        </a:cubicBezTo>
                        <a:cubicBezTo>
                          <a:pt x="535" y="323"/>
                          <a:pt x="489" y="359"/>
                          <a:pt x="487" y="359"/>
                        </a:cubicBezTo>
                        <a:cubicBezTo>
                          <a:pt x="485" y="359"/>
                          <a:pt x="436" y="360"/>
                          <a:pt x="436" y="360"/>
                        </a:cubicBezTo>
                        <a:cubicBezTo>
                          <a:pt x="435" y="349"/>
                          <a:pt x="435" y="349"/>
                          <a:pt x="435" y="349"/>
                        </a:cubicBezTo>
                        <a:cubicBezTo>
                          <a:pt x="435" y="349"/>
                          <a:pt x="374" y="341"/>
                          <a:pt x="368" y="350"/>
                        </a:cubicBezTo>
                        <a:cubicBezTo>
                          <a:pt x="362" y="359"/>
                          <a:pt x="337" y="358"/>
                          <a:pt x="328" y="371"/>
                        </a:cubicBezTo>
                        <a:cubicBezTo>
                          <a:pt x="319" y="384"/>
                          <a:pt x="301" y="411"/>
                          <a:pt x="299" y="412"/>
                        </a:cubicBezTo>
                        <a:cubicBezTo>
                          <a:pt x="297" y="414"/>
                          <a:pt x="284" y="410"/>
                          <a:pt x="277" y="417"/>
                        </a:cubicBezTo>
                        <a:cubicBezTo>
                          <a:pt x="270" y="423"/>
                          <a:pt x="258" y="444"/>
                          <a:pt x="258" y="444"/>
                        </a:cubicBezTo>
                        <a:cubicBezTo>
                          <a:pt x="258" y="444"/>
                          <a:pt x="252" y="443"/>
                          <a:pt x="246" y="447"/>
                        </a:cubicBezTo>
                        <a:cubicBezTo>
                          <a:pt x="240" y="450"/>
                          <a:pt x="226" y="469"/>
                          <a:pt x="226" y="469"/>
                        </a:cubicBezTo>
                        <a:cubicBezTo>
                          <a:pt x="213" y="469"/>
                          <a:pt x="213" y="469"/>
                          <a:pt x="213" y="469"/>
                        </a:cubicBezTo>
                        <a:cubicBezTo>
                          <a:pt x="213" y="469"/>
                          <a:pt x="203" y="488"/>
                          <a:pt x="197" y="495"/>
                        </a:cubicBezTo>
                        <a:cubicBezTo>
                          <a:pt x="192" y="503"/>
                          <a:pt x="165" y="521"/>
                          <a:pt x="162" y="520"/>
                        </a:cubicBezTo>
                        <a:cubicBezTo>
                          <a:pt x="160" y="519"/>
                          <a:pt x="154" y="511"/>
                          <a:pt x="151" y="511"/>
                        </a:cubicBezTo>
                        <a:cubicBezTo>
                          <a:pt x="148" y="511"/>
                          <a:pt x="119" y="511"/>
                          <a:pt x="119" y="511"/>
                        </a:cubicBezTo>
                        <a:cubicBezTo>
                          <a:pt x="105" y="496"/>
                          <a:pt x="105" y="496"/>
                          <a:pt x="105" y="496"/>
                        </a:cubicBezTo>
                        <a:cubicBezTo>
                          <a:pt x="105" y="496"/>
                          <a:pt x="73" y="513"/>
                          <a:pt x="70" y="521"/>
                        </a:cubicBezTo>
                        <a:cubicBezTo>
                          <a:pt x="68" y="529"/>
                          <a:pt x="64" y="537"/>
                          <a:pt x="59" y="540"/>
                        </a:cubicBezTo>
                        <a:cubicBezTo>
                          <a:pt x="57" y="541"/>
                          <a:pt x="54" y="544"/>
                          <a:pt x="50" y="547"/>
                        </a:cubicBezTo>
                        <a:cubicBezTo>
                          <a:pt x="55" y="634"/>
                          <a:pt x="55" y="634"/>
                          <a:pt x="55" y="634"/>
                        </a:cubicBezTo>
                        <a:cubicBezTo>
                          <a:pt x="8" y="689"/>
                          <a:pt x="8" y="689"/>
                          <a:pt x="8" y="689"/>
                        </a:cubicBezTo>
                        <a:cubicBezTo>
                          <a:pt x="8" y="689"/>
                          <a:pt x="0" y="745"/>
                          <a:pt x="1" y="782"/>
                        </a:cubicBezTo>
                        <a:cubicBezTo>
                          <a:pt x="2" y="819"/>
                          <a:pt x="46" y="874"/>
                          <a:pt x="46" y="874"/>
                        </a:cubicBezTo>
                        <a:cubicBezTo>
                          <a:pt x="46" y="874"/>
                          <a:pt x="49" y="885"/>
                          <a:pt x="48" y="905"/>
                        </a:cubicBezTo>
                        <a:cubicBezTo>
                          <a:pt x="47" y="925"/>
                          <a:pt x="30" y="965"/>
                          <a:pt x="23" y="1016"/>
                        </a:cubicBezTo>
                        <a:cubicBezTo>
                          <a:pt x="20" y="1038"/>
                          <a:pt x="14" y="1064"/>
                          <a:pt x="8" y="1088"/>
                        </a:cubicBezTo>
                        <a:cubicBezTo>
                          <a:pt x="28" y="1088"/>
                          <a:pt x="48" y="1087"/>
                          <a:pt x="51" y="1085"/>
                        </a:cubicBezTo>
                        <a:cubicBezTo>
                          <a:pt x="57" y="1082"/>
                          <a:pt x="103" y="1075"/>
                          <a:pt x="110" y="1084"/>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Freeform 541">
                    <a:extLst>
                      <a:ext uri="{FF2B5EF4-FFF2-40B4-BE49-F238E27FC236}">
                        <a16:creationId xmlns:a16="http://schemas.microsoft.com/office/drawing/2014/main" id="{B4D832EC-DA30-5BD1-BD2A-B1D9477578B7}"/>
                      </a:ext>
                    </a:extLst>
                  </p:cNvPr>
                  <p:cNvSpPr>
                    <a:spLocks noChangeAspect="1"/>
                  </p:cNvSpPr>
                  <p:nvPr/>
                </p:nvSpPr>
                <p:spPr bwMode="auto">
                  <a:xfrm>
                    <a:off x="6054998" y="5154902"/>
                    <a:ext cx="316254" cy="365092"/>
                  </a:xfrm>
                  <a:custGeom>
                    <a:avLst/>
                    <a:gdLst>
                      <a:gd name="T0" fmla="*/ 692 w 809"/>
                      <a:gd name="T1" fmla="*/ 515 h 936"/>
                      <a:gd name="T2" fmla="*/ 650 w 809"/>
                      <a:gd name="T3" fmla="*/ 483 h 936"/>
                      <a:gd name="T4" fmla="*/ 600 w 809"/>
                      <a:gd name="T5" fmla="*/ 445 h 936"/>
                      <a:gd name="T6" fmla="*/ 545 w 809"/>
                      <a:gd name="T7" fmla="*/ 354 h 936"/>
                      <a:gd name="T8" fmla="*/ 559 w 809"/>
                      <a:gd name="T9" fmla="*/ 280 h 936"/>
                      <a:gd name="T10" fmla="*/ 451 w 809"/>
                      <a:gd name="T11" fmla="*/ 242 h 936"/>
                      <a:gd name="T12" fmla="*/ 403 w 809"/>
                      <a:gd name="T13" fmla="*/ 217 h 936"/>
                      <a:gd name="T14" fmla="*/ 334 w 809"/>
                      <a:gd name="T15" fmla="*/ 188 h 936"/>
                      <a:gd name="T16" fmla="*/ 373 w 809"/>
                      <a:gd name="T17" fmla="*/ 173 h 936"/>
                      <a:gd name="T18" fmla="*/ 359 w 809"/>
                      <a:gd name="T19" fmla="*/ 126 h 936"/>
                      <a:gd name="T20" fmla="*/ 326 w 809"/>
                      <a:gd name="T21" fmla="*/ 107 h 936"/>
                      <a:gd name="T22" fmla="*/ 265 w 809"/>
                      <a:gd name="T23" fmla="*/ 11 h 936"/>
                      <a:gd name="T24" fmla="*/ 221 w 809"/>
                      <a:gd name="T25" fmla="*/ 52 h 936"/>
                      <a:gd name="T26" fmla="*/ 138 w 809"/>
                      <a:gd name="T27" fmla="*/ 89 h 936"/>
                      <a:gd name="T28" fmla="*/ 160 w 809"/>
                      <a:gd name="T29" fmla="*/ 137 h 936"/>
                      <a:gd name="T30" fmla="*/ 57 w 809"/>
                      <a:gd name="T31" fmla="*/ 200 h 936"/>
                      <a:gd name="T32" fmla="*/ 60 w 809"/>
                      <a:gd name="T33" fmla="*/ 251 h 936"/>
                      <a:gd name="T34" fmla="*/ 66 w 809"/>
                      <a:gd name="T35" fmla="*/ 363 h 936"/>
                      <a:gd name="T36" fmla="*/ 3 w 809"/>
                      <a:gd name="T37" fmla="*/ 471 h 936"/>
                      <a:gd name="T38" fmla="*/ 45 w 809"/>
                      <a:gd name="T39" fmla="*/ 470 h 936"/>
                      <a:gd name="T40" fmla="*/ 48 w 809"/>
                      <a:gd name="T41" fmla="*/ 504 h 936"/>
                      <a:gd name="T42" fmla="*/ 41 w 809"/>
                      <a:gd name="T43" fmla="*/ 570 h 936"/>
                      <a:gd name="T44" fmla="*/ 33 w 809"/>
                      <a:gd name="T45" fmla="*/ 622 h 936"/>
                      <a:gd name="T46" fmla="*/ 76 w 809"/>
                      <a:gd name="T47" fmla="*/ 662 h 936"/>
                      <a:gd name="T48" fmla="*/ 93 w 809"/>
                      <a:gd name="T49" fmla="*/ 753 h 936"/>
                      <a:gd name="T50" fmla="*/ 129 w 809"/>
                      <a:gd name="T51" fmla="*/ 934 h 936"/>
                      <a:gd name="T52" fmla="*/ 197 w 809"/>
                      <a:gd name="T53" fmla="*/ 911 h 936"/>
                      <a:gd name="T54" fmla="*/ 288 w 809"/>
                      <a:gd name="T55" fmla="*/ 916 h 936"/>
                      <a:gd name="T56" fmla="*/ 396 w 809"/>
                      <a:gd name="T57" fmla="*/ 894 h 936"/>
                      <a:gd name="T58" fmla="*/ 577 w 809"/>
                      <a:gd name="T59" fmla="*/ 879 h 936"/>
                      <a:gd name="T60" fmla="*/ 669 w 809"/>
                      <a:gd name="T61" fmla="*/ 881 h 936"/>
                      <a:gd name="T62" fmla="*/ 748 w 809"/>
                      <a:gd name="T63" fmla="*/ 853 h 936"/>
                      <a:gd name="T64" fmla="*/ 784 w 809"/>
                      <a:gd name="T65" fmla="*/ 843 h 936"/>
                      <a:gd name="T66" fmla="*/ 788 w 809"/>
                      <a:gd name="T67" fmla="*/ 793 h 936"/>
                      <a:gd name="T68" fmla="*/ 769 w 809"/>
                      <a:gd name="T69" fmla="*/ 688 h 936"/>
                      <a:gd name="T70" fmla="*/ 730 w 809"/>
                      <a:gd name="T71" fmla="*/ 642 h 936"/>
                      <a:gd name="T72" fmla="*/ 736 w 809"/>
                      <a:gd name="T73" fmla="*/ 628 h 936"/>
                      <a:gd name="T74" fmla="*/ 758 w 809"/>
                      <a:gd name="T75" fmla="*/ 623 h 936"/>
                      <a:gd name="T76" fmla="*/ 752 w 809"/>
                      <a:gd name="T77" fmla="*/ 604 h 936"/>
                      <a:gd name="T78" fmla="*/ 715 w 809"/>
                      <a:gd name="T79" fmla="*/ 54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9" h="936">
                        <a:moveTo>
                          <a:pt x="715" y="549"/>
                        </a:moveTo>
                        <a:cubicBezTo>
                          <a:pt x="702" y="530"/>
                          <a:pt x="692" y="520"/>
                          <a:pt x="692" y="515"/>
                        </a:cubicBezTo>
                        <a:cubicBezTo>
                          <a:pt x="692" y="509"/>
                          <a:pt x="679" y="513"/>
                          <a:pt x="672" y="511"/>
                        </a:cubicBezTo>
                        <a:cubicBezTo>
                          <a:pt x="665" y="510"/>
                          <a:pt x="660" y="494"/>
                          <a:pt x="650" y="483"/>
                        </a:cubicBezTo>
                        <a:cubicBezTo>
                          <a:pt x="640" y="472"/>
                          <a:pt x="625" y="479"/>
                          <a:pt x="614" y="471"/>
                        </a:cubicBezTo>
                        <a:cubicBezTo>
                          <a:pt x="603" y="463"/>
                          <a:pt x="616" y="453"/>
                          <a:pt x="600" y="445"/>
                        </a:cubicBezTo>
                        <a:cubicBezTo>
                          <a:pt x="583" y="438"/>
                          <a:pt x="561" y="393"/>
                          <a:pt x="555" y="388"/>
                        </a:cubicBezTo>
                        <a:cubicBezTo>
                          <a:pt x="550" y="383"/>
                          <a:pt x="550" y="364"/>
                          <a:pt x="545" y="354"/>
                        </a:cubicBezTo>
                        <a:cubicBezTo>
                          <a:pt x="540" y="343"/>
                          <a:pt x="547" y="346"/>
                          <a:pt x="553" y="337"/>
                        </a:cubicBezTo>
                        <a:cubicBezTo>
                          <a:pt x="559" y="328"/>
                          <a:pt x="560" y="289"/>
                          <a:pt x="559" y="280"/>
                        </a:cubicBezTo>
                        <a:cubicBezTo>
                          <a:pt x="559" y="271"/>
                          <a:pt x="545" y="248"/>
                          <a:pt x="540" y="244"/>
                        </a:cubicBezTo>
                        <a:cubicBezTo>
                          <a:pt x="535" y="240"/>
                          <a:pt x="464" y="245"/>
                          <a:pt x="451" y="242"/>
                        </a:cubicBezTo>
                        <a:cubicBezTo>
                          <a:pt x="437" y="239"/>
                          <a:pt x="440" y="235"/>
                          <a:pt x="432" y="235"/>
                        </a:cubicBezTo>
                        <a:cubicBezTo>
                          <a:pt x="423" y="235"/>
                          <a:pt x="412" y="228"/>
                          <a:pt x="403" y="217"/>
                        </a:cubicBezTo>
                        <a:cubicBezTo>
                          <a:pt x="394" y="206"/>
                          <a:pt x="388" y="208"/>
                          <a:pt x="375" y="207"/>
                        </a:cubicBezTo>
                        <a:cubicBezTo>
                          <a:pt x="362" y="207"/>
                          <a:pt x="343" y="193"/>
                          <a:pt x="334" y="188"/>
                        </a:cubicBezTo>
                        <a:cubicBezTo>
                          <a:pt x="325" y="184"/>
                          <a:pt x="331" y="174"/>
                          <a:pt x="331" y="174"/>
                        </a:cubicBezTo>
                        <a:cubicBezTo>
                          <a:pt x="373" y="173"/>
                          <a:pt x="373" y="173"/>
                          <a:pt x="373" y="173"/>
                        </a:cubicBezTo>
                        <a:cubicBezTo>
                          <a:pt x="373" y="173"/>
                          <a:pt x="373" y="157"/>
                          <a:pt x="371" y="146"/>
                        </a:cubicBezTo>
                        <a:cubicBezTo>
                          <a:pt x="370" y="140"/>
                          <a:pt x="364" y="132"/>
                          <a:pt x="359" y="126"/>
                        </a:cubicBezTo>
                        <a:cubicBezTo>
                          <a:pt x="354" y="128"/>
                          <a:pt x="349" y="130"/>
                          <a:pt x="346" y="130"/>
                        </a:cubicBezTo>
                        <a:cubicBezTo>
                          <a:pt x="336" y="129"/>
                          <a:pt x="328" y="113"/>
                          <a:pt x="326" y="107"/>
                        </a:cubicBezTo>
                        <a:cubicBezTo>
                          <a:pt x="323" y="102"/>
                          <a:pt x="308" y="100"/>
                          <a:pt x="293" y="79"/>
                        </a:cubicBezTo>
                        <a:cubicBezTo>
                          <a:pt x="277" y="58"/>
                          <a:pt x="271" y="22"/>
                          <a:pt x="265" y="11"/>
                        </a:cubicBezTo>
                        <a:cubicBezTo>
                          <a:pt x="260" y="0"/>
                          <a:pt x="250" y="1"/>
                          <a:pt x="229" y="1"/>
                        </a:cubicBezTo>
                        <a:cubicBezTo>
                          <a:pt x="208" y="1"/>
                          <a:pt x="222" y="51"/>
                          <a:pt x="221" y="52"/>
                        </a:cubicBezTo>
                        <a:cubicBezTo>
                          <a:pt x="221" y="54"/>
                          <a:pt x="207" y="62"/>
                          <a:pt x="193" y="75"/>
                        </a:cubicBezTo>
                        <a:cubicBezTo>
                          <a:pt x="179" y="88"/>
                          <a:pt x="153" y="88"/>
                          <a:pt x="138" y="89"/>
                        </a:cubicBezTo>
                        <a:cubicBezTo>
                          <a:pt x="122" y="90"/>
                          <a:pt x="129" y="118"/>
                          <a:pt x="128" y="123"/>
                        </a:cubicBezTo>
                        <a:cubicBezTo>
                          <a:pt x="128" y="128"/>
                          <a:pt x="151" y="134"/>
                          <a:pt x="160" y="137"/>
                        </a:cubicBezTo>
                        <a:cubicBezTo>
                          <a:pt x="168" y="140"/>
                          <a:pt x="174" y="166"/>
                          <a:pt x="174" y="172"/>
                        </a:cubicBezTo>
                        <a:cubicBezTo>
                          <a:pt x="173" y="178"/>
                          <a:pt x="64" y="193"/>
                          <a:pt x="57" y="200"/>
                        </a:cubicBezTo>
                        <a:cubicBezTo>
                          <a:pt x="51" y="208"/>
                          <a:pt x="90" y="220"/>
                          <a:pt x="91" y="234"/>
                        </a:cubicBezTo>
                        <a:cubicBezTo>
                          <a:pt x="93" y="247"/>
                          <a:pt x="68" y="245"/>
                          <a:pt x="60" y="251"/>
                        </a:cubicBezTo>
                        <a:cubicBezTo>
                          <a:pt x="52" y="257"/>
                          <a:pt x="58" y="347"/>
                          <a:pt x="58" y="347"/>
                        </a:cubicBezTo>
                        <a:cubicBezTo>
                          <a:pt x="58" y="347"/>
                          <a:pt x="63" y="357"/>
                          <a:pt x="66" y="363"/>
                        </a:cubicBezTo>
                        <a:cubicBezTo>
                          <a:pt x="70" y="369"/>
                          <a:pt x="59" y="387"/>
                          <a:pt x="49" y="409"/>
                        </a:cubicBezTo>
                        <a:cubicBezTo>
                          <a:pt x="39" y="431"/>
                          <a:pt x="6" y="466"/>
                          <a:pt x="3" y="471"/>
                        </a:cubicBezTo>
                        <a:cubicBezTo>
                          <a:pt x="0" y="476"/>
                          <a:pt x="35" y="482"/>
                          <a:pt x="35" y="482"/>
                        </a:cubicBezTo>
                        <a:cubicBezTo>
                          <a:pt x="35" y="482"/>
                          <a:pt x="43" y="474"/>
                          <a:pt x="45" y="470"/>
                        </a:cubicBezTo>
                        <a:cubicBezTo>
                          <a:pt x="47" y="466"/>
                          <a:pt x="57" y="472"/>
                          <a:pt x="60" y="480"/>
                        </a:cubicBezTo>
                        <a:cubicBezTo>
                          <a:pt x="63" y="488"/>
                          <a:pt x="52" y="493"/>
                          <a:pt x="48" y="504"/>
                        </a:cubicBezTo>
                        <a:cubicBezTo>
                          <a:pt x="45" y="516"/>
                          <a:pt x="15" y="537"/>
                          <a:pt x="15" y="537"/>
                        </a:cubicBezTo>
                        <a:cubicBezTo>
                          <a:pt x="41" y="570"/>
                          <a:pt x="41" y="570"/>
                          <a:pt x="41" y="570"/>
                        </a:cubicBezTo>
                        <a:cubicBezTo>
                          <a:pt x="23" y="615"/>
                          <a:pt x="23" y="615"/>
                          <a:pt x="23" y="615"/>
                        </a:cubicBezTo>
                        <a:cubicBezTo>
                          <a:pt x="27" y="618"/>
                          <a:pt x="31" y="621"/>
                          <a:pt x="33" y="622"/>
                        </a:cubicBezTo>
                        <a:cubicBezTo>
                          <a:pt x="38" y="624"/>
                          <a:pt x="53" y="638"/>
                          <a:pt x="67" y="643"/>
                        </a:cubicBezTo>
                        <a:cubicBezTo>
                          <a:pt x="80" y="648"/>
                          <a:pt x="74" y="650"/>
                          <a:pt x="76" y="662"/>
                        </a:cubicBezTo>
                        <a:cubicBezTo>
                          <a:pt x="78" y="674"/>
                          <a:pt x="100" y="713"/>
                          <a:pt x="101" y="720"/>
                        </a:cubicBezTo>
                        <a:cubicBezTo>
                          <a:pt x="103" y="728"/>
                          <a:pt x="101" y="745"/>
                          <a:pt x="93" y="753"/>
                        </a:cubicBezTo>
                        <a:cubicBezTo>
                          <a:pt x="86" y="761"/>
                          <a:pt x="100" y="876"/>
                          <a:pt x="102" y="899"/>
                        </a:cubicBezTo>
                        <a:cubicBezTo>
                          <a:pt x="103" y="909"/>
                          <a:pt x="115" y="923"/>
                          <a:pt x="129" y="934"/>
                        </a:cubicBezTo>
                        <a:cubicBezTo>
                          <a:pt x="145" y="928"/>
                          <a:pt x="180" y="936"/>
                          <a:pt x="180" y="936"/>
                        </a:cubicBezTo>
                        <a:cubicBezTo>
                          <a:pt x="180" y="936"/>
                          <a:pt x="190" y="915"/>
                          <a:pt x="197" y="911"/>
                        </a:cubicBezTo>
                        <a:cubicBezTo>
                          <a:pt x="204" y="907"/>
                          <a:pt x="239" y="915"/>
                          <a:pt x="244" y="913"/>
                        </a:cubicBezTo>
                        <a:cubicBezTo>
                          <a:pt x="249" y="911"/>
                          <a:pt x="288" y="916"/>
                          <a:pt x="288" y="916"/>
                        </a:cubicBezTo>
                        <a:cubicBezTo>
                          <a:pt x="299" y="895"/>
                          <a:pt x="299" y="895"/>
                          <a:pt x="299" y="895"/>
                        </a:cubicBezTo>
                        <a:cubicBezTo>
                          <a:pt x="299" y="895"/>
                          <a:pt x="387" y="895"/>
                          <a:pt x="396" y="894"/>
                        </a:cubicBezTo>
                        <a:cubicBezTo>
                          <a:pt x="405" y="893"/>
                          <a:pt x="434" y="883"/>
                          <a:pt x="438" y="882"/>
                        </a:cubicBezTo>
                        <a:cubicBezTo>
                          <a:pt x="442" y="881"/>
                          <a:pt x="565" y="879"/>
                          <a:pt x="577" y="879"/>
                        </a:cubicBezTo>
                        <a:cubicBezTo>
                          <a:pt x="589" y="879"/>
                          <a:pt x="603" y="877"/>
                          <a:pt x="623" y="876"/>
                        </a:cubicBezTo>
                        <a:cubicBezTo>
                          <a:pt x="643" y="875"/>
                          <a:pt x="666" y="881"/>
                          <a:pt x="669" y="881"/>
                        </a:cubicBezTo>
                        <a:cubicBezTo>
                          <a:pt x="672" y="881"/>
                          <a:pt x="729" y="884"/>
                          <a:pt x="750" y="881"/>
                        </a:cubicBezTo>
                        <a:cubicBezTo>
                          <a:pt x="771" y="878"/>
                          <a:pt x="748" y="858"/>
                          <a:pt x="748" y="853"/>
                        </a:cubicBezTo>
                        <a:cubicBezTo>
                          <a:pt x="748" y="848"/>
                          <a:pt x="756" y="831"/>
                          <a:pt x="764" y="825"/>
                        </a:cubicBezTo>
                        <a:cubicBezTo>
                          <a:pt x="772" y="819"/>
                          <a:pt x="769" y="843"/>
                          <a:pt x="784" y="843"/>
                        </a:cubicBezTo>
                        <a:cubicBezTo>
                          <a:pt x="799" y="843"/>
                          <a:pt x="791" y="818"/>
                          <a:pt x="800" y="812"/>
                        </a:cubicBezTo>
                        <a:cubicBezTo>
                          <a:pt x="809" y="806"/>
                          <a:pt x="792" y="802"/>
                          <a:pt x="788" y="793"/>
                        </a:cubicBezTo>
                        <a:cubicBezTo>
                          <a:pt x="784" y="784"/>
                          <a:pt x="782" y="782"/>
                          <a:pt x="781" y="774"/>
                        </a:cubicBezTo>
                        <a:cubicBezTo>
                          <a:pt x="780" y="766"/>
                          <a:pt x="769" y="688"/>
                          <a:pt x="769" y="688"/>
                        </a:cubicBezTo>
                        <a:cubicBezTo>
                          <a:pt x="769" y="688"/>
                          <a:pt x="762" y="680"/>
                          <a:pt x="750" y="674"/>
                        </a:cubicBezTo>
                        <a:cubicBezTo>
                          <a:pt x="738" y="668"/>
                          <a:pt x="738" y="648"/>
                          <a:pt x="730" y="642"/>
                        </a:cubicBezTo>
                        <a:cubicBezTo>
                          <a:pt x="722" y="636"/>
                          <a:pt x="725" y="625"/>
                          <a:pt x="724" y="621"/>
                        </a:cubicBezTo>
                        <a:cubicBezTo>
                          <a:pt x="723" y="617"/>
                          <a:pt x="736" y="628"/>
                          <a:pt x="736" y="628"/>
                        </a:cubicBezTo>
                        <a:cubicBezTo>
                          <a:pt x="736" y="628"/>
                          <a:pt x="747" y="644"/>
                          <a:pt x="759" y="651"/>
                        </a:cubicBezTo>
                        <a:cubicBezTo>
                          <a:pt x="771" y="658"/>
                          <a:pt x="758" y="623"/>
                          <a:pt x="758" y="623"/>
                        </a:cubicBezTo>
                        <a:cubicBezTo>
                          <a:pt x="758" y="623"/>
                          <a:pt x="748" y="611"/>
                          <a:pt x="751" y="604"/>
                        </a:cubicBezTo>
                        <a:cubicBezTo>
                          <a:pt x="751" y="604"/>
                          <a:pt x="751" y="604"/>
                          <a:pt x="752" y="604"/>
                        </a:cubicBezTo>
                        <a:cubicBezTo>
                          <a:pt x="746" y="594"/>
                          <a:pt x="742" y="586"/>
                          <a:pt x="742" y="585"/>
                        </a:cubicBezTo>
                        <a:cubicBezTo>
                          <a:pt x="741" y="581"/>
                          <a:pt x="729" y="568"/>
                          <a:pt x="715" y="549"/>
                        </a:cubicBezTo>
                        <a:close/>
                      </a:path>
                    </a:pathLst>
                  </a:custGeom>
                  <a:solidFill>
                    <a:schemeClr val="accent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0" name="Freeform 552">
                  <a:extLst>
                    <a:ext uri="{FF2B5EF4-FFF2-40B4-BE49-F238E27FC236}">
                      <a16:creationId xmlns:a16="http://schemas.microsoft.com/office/drawing/2014/main" id="{6E3F7A93-E580-FF49-6635-8FD958E8B94B}"/>
                    </a:ext>
                  </a:extLst>
                </p:cNvPr>
                <p:cNvSpPr>
                  <a:spLocks noChangeAspect="1"/>
                </p:cNvSpPr>
                <p:nvPr/>
              </p:nvSpPr>
              <p:spPr bwMode="auto">
                <a:xfrm>
                  <a:off x="4707069" y="3176421"/>
                  <a:ext cx="1333300" cy="1106048"/>
                </a:xfrm>
                <a:custGeom>
                  <a:avLst/>
                  <a:gdLst>
                    <a:gd name="T0" fmla="*/ 236 w 3413"/>
                    <a:gd name="T1" fmla="*/ 1157 h 2830"/>
                    <a:gd name="T2" fmla="*/ 299 w 3413"/>
                    <a:gd name="T3" fmla="*/ 1248 h 2830"/>
                    <a:gd name="T4" fmla="*/ 337 w 3413"/>
                    <a:gd name="T5" fmla="*/ 1298 h 2830"/>
                    <a:gd name="T6" fmla="*/ 404 w 3413"/>
                    <a:gd name="T7" fmla="*/ 1368 h 2830"/>
                    <a:gd name="T8" fmla="*/ 517 w 3413"/>
                    <a:gd name="T9" fmla="*/ 1376 h 2830"/>
                    <a:gd name="T10" fmla="*/ 591 w 3413"/>
                    <a:gd name="T11" fmla="*/ 1491 h 2830"/>
                    <a:gd name="T12" fmla="*/ 676 w 3413"/>
                    <a:gd name="T13" fmla="*/ 1575 h 2830"/>
                    <a:gd name="T14" fmla="*/ 765 w 3413"/>
                    <a:gd name="T15" fmla="*/ 1672 h 2830"/>
                    <a:gd name="T16" fmla="*/ 916 w 3413"/>
                    <a:gd name="T17" fmla="*/ 1819 h 2830"/>
                    <a:gd name="T18" fmla="*/ 1101 w 3413"/>
                    <a:gd name="T19" fmla="*/ 1996 h 2830"/>
                    <a:gd name="T20" fmla="*/ 1331 w 3413"/>
                    <a:gd name="T21" fmla="*/ 1988 h 2830"/>
                    <a:gd name="T22" fmla="*/ 1457 w 3413"/>
                    <a:gd name="T23" fmla="*/ 2107 h 2830"/>
                    <a:gd name="T24" fmla="*/ 1692 w 3413"/>
                    <a:gd name="T25" fmla="*/ 2176 h 2830"/>
                    <a:gd name="T26" fmla="*/ 1939 w 3413"/>
                    <a:gd name="T27" fmla="*/ 2340 h 2830"/>
                    <a:gd name="T28" fmla="*/ 2203 w 3413"/>
                    <a:gd name="T29" fmla="*/ 2338 h 2830"/>
                    <a:gd name="T30" fmla="*/ 2407 w 3413"/>
                    <a:gd name="T31" fmla="*/ 2378 h 2830"/>
                    <a:gd name="T32" fmla="*/ 2572 w 3413"/>
                    <a:gd name="T33" fmla="*/ 2628 h 2830"/>
                    <a:gd name="T34" fmla="*/ 2705 w 3413"/>
                    <a:gd name="T35" fmla="*/ 2737 h 2830"/>
                    <a:gd name="T36" fmla="*/ 2849 w 3413"/>
                    <a:gd name="T37" fmla="*/ 2738 h 2830"/>
                    <a:gd name="T38" fmla="*/ 2872 w 3413"/>
                    <a:gd name="T39" fmla="*/ 1922 h 2830"/>
                    <a:gd name="T40" fmla="*/ 3197 w 3413"/>
                    <a:gd name="T41" fmla="*/ 2021 h 2830"/>
                    <a:gd name="T42" fmla="*/ 3369 w 3413"/>
                    <a:gd name="T43" fmla="*/ 1872 h 2830"/>
                    <a:gd name="T44" fmla="*/ 3265 w 3413"/>
                    <a:gd name="T45" fmla="*/ 1826 h 2830"/>
                    <a:gd name="T46" fmla="*/ 3235 w 3413"/>
                    <a:gd name="T47" fmla="*/ 1718 h 2830"/>
                    <a:gd name="T48" fmla="*/ 3258 w 3413"/>
                    <a:gd name="T49" fmla="*/ 1481 h 2830"/>
                    <a:gd name="T50" fmla="*/ 3303 w 3413"/>
                    <a:gd name="T51" fmla="*/ 1231 h 2830"/>
                    <a:gd name="T52" fmla="*/ 2960 w 3413"/>
                    <a:gd name="T53" fmla="*/ 1140 h 2830"/>
                    <a:gd name="T54" fmla="*/ 3075 w 3413"/>
                    <a:gd name="T55" fmla="*/ 989 h 2830"/>
                    <a:gd name="T56" fmla="*/ 2992 w 3413"/>
                    <a:gd name="T57" fmla="*/ 766 h 2830"/>
                    <a:gd name="T58" fmla="*/ 2792 w 3413"/>
                    <a:gd name="T59" fmla="*/ 664 h 2830"/>
                    <a:gd name="T60" fmla="*/ 2622 w 3413"/>
                    <a:gd name="T61" fmla="*/ 709 h 2830"/>
                    <a:gd name="T62" fmla="*/ 2399 w 3413"/>
                    <a:gd name="T63" fmla="*/ 832 h 2830"/>
                    <a:gd name="T64" fmla="*/ 2252 w 3413"/>
                    <a:gd name="T65" fmla="*/ 766 h 2830"/>
                    <a:gd name="T66" fmla="*/ 2276 w 3413"/>
                    <a:gd name="T67" fmla="*/ 508 h 2830"/>
                    <a:gd name="T68" fmla="*/ 2280 w 3413"/>
                    <a:gd name="T69" fmla="*/ 358 h 2830"/>
                    <a:gd name="T70" fmla="*/ 2191 w 3413"/>
                    <a:gd name="T71" fmla="*/ 227 h 2830"/>
                    <a:gd name="T72" fmla="*/ 1994 w 3413"/>
                    <a:gd name="T73" fmla="*/ 332 h 2830"/>
                    <a:gd name="T74" fmla="*/ 1584 w 3413"/>
                    <a:gd name="T75" fmla="*/ 71 h 2830"/>
                    <a:gd name="T76" fmla="*/ 1155 w 3413"/>
                    <a:gd name="T77" fmla="*/ 36 h 2830"/>
                    <a:gd name="T78" fmla="*/ 1201 w 3413"/>
                    <a:gd name="T79" fmla="*/ 239 h 2830"/>
                    <a:gd name="T80" fmla="*/ 1336 w 3413"/>
                    <a:gd name="T81" fmla="*/ 444 h 2830"/>
                    <a:gd name="T82" fmla="*/ 1259 w 3413"/>
                    <a:gd name="T83" fmla="*/ 560 h 2830"/>
                    <a:gd name="T84" fmla="*/ 1128 w 3413"/>
                    <a:gd name="T85" fmla="*/ 658 h 2830"/>
                    <a:gd name="T86" fmla="*/ 1199 w 3413"/>
                    <a:gd name="T87" fmla="*/ 947 h 2830"/>
                    <a:gd name="T88" fmla="*/ 1019 w 3413"/>
                    <a:gd name="T89" fmla="*/ 950 h 2830"/>
                    <a:gd name="T90" fmla="*/ 918 w 3413"/>
                    <a:gd name="T91" fmla="*/ 1092 h 2830"/>
                    <a:gd name="T92" fmla="*/ 811 w 3413"/>
                    <a:gd name="T93" fmla="*/ 764 h 2830"/>
                    <a:gd name="T94" fmla="*/ 1008 w 3413"/>
                    <a:gd name="T95" fmla="*/ 536 h 2830"/>
                    <a:gd name="T96" fmla="*/ 869 w 3413"/>
                    <a:gd name="T97" fmla="*/ 474 h 2830"/>
                    <a:gd name="T98" fmla="*/ 553 w 3413"/>
                    <a:gd name="T99" fmla="*/ 326 h 2830"/>
                    <a:gd name="T100" fmla="*/ 264 w 3413"/>
                    <a:gd name="T101" fmla="*/ 281 h 2830"/>
                    <a:gd name="T102" fmla="*/ 111 w 3413"/>
                    <a:gd name="T103" fmla="*/ 271 h 2830"/>
                    <a:gd name="T104" fmla="*/ 234 w 3413"/>
                    <a:gd name="T105" fmla="*/ 570 h 2830"/>
                    <a:gd name="T106" fmla="*/ 112 w 3413"/>
                    <a:gd name="T107" fmla="*/ 803 h 2830"/>
                    <a:gd name="T108" fmla="*/ 87 w 3413"/>
                    <a:gd name="T109" fmla="*/ 1050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13" h="2830">
                      <a:moveTo>
                        <a:pt x="61" y="1160"/>
                      </a:moveTo>
                      <a:cubicBezTo>
                        <a:pt x="81" y="1162"/>
                        <a:pt x="149" y="1161"/>
                        <a:pt x="149" y="1161"/>
                      </a:cubicBezTo>
                      <a:cubicBezTo>
                        <a:pt x="149" y="1161"/>
                        <a:pt x="181" y="1213"/>
                        <a:pt x="195" y="1206"/>
                      </a:cubicBezTo>
                      <a:cubicBezTo>
                        <a:pt x="209" y="1198"/>
                        <a:pt x="227" y="1170"/>
                        <a:pt x="229" y="1168"/>
                      </a:cubicBezTo>
                      <a:cubicBezTo>
                        <a:pt x="232" y="1166"/>
                        <a:pt x="233" y="1158"/>
                        <a:pt x="236" y="1157"/>
                      </a:cubicBezTo>
                      <a:cubicBezTo>
                        <a:pt x="239" y="1156"/>
                        <a:pt x="262" y="1163"/>
                        <a:pt x="263" y="1169"/>
                      </a:cubicBezTo>
                      <a:cubicBezTo>
                        <a:pt x="265" y="1175"/>
                        <a:pt x="264" y="1180"/>
                        <a:pt x="273" y="1188"/>
                      </a:cubicBezTo>
                      <a:cubicBezTo>
                        <a:pt x="283" y="1195"/>
                        <a:pt x="293" y="1208"/>
                        <a:pt x="293" y="1208"/>
                      </a:cubicBezTo>
                      <a:cubicBezTo>
                        <a:pt x="293" y="1208"/>
                        <a:pt x="252" y="1214"/>
                        <a:pt x="267" y="1232"/>
                      </a:cubicBezTo>
                      <a:cubicBezTo>
                        <a:pt x="281" y="1249"/>
                        <a:pt x="294" y="1252"/>
                        <a:pt x="299" y="1248"/>
                      </a:cubicBezTo>
                      <a:cubicBezTo>
                        <a:pt x="303" y="1245"/>
                        <a:pt x="311" y="1235"/>
                        <a:pt x="311" y="1235"/>
                      </a:cubicBezTo>
                      <a:cubicBezTo>
                        <a:pt x="327" y="1247"/>
                        <a:pt x="327" y="1247"/>
                        <a:pt x="327" y="1247"/>
                      </a:cubicBezTo>
                      <a:cubicBezTo>
                        <a:pt x="327" y="1247"/>
                        <a:pt x="311" y="1270"/>
                        <a:pt x="317" y="1272"/>
                      </a:cubicBezTo>
                      <a:cubicBezTo>
                        <a:pt x="322" y="1274"/>
                        <a:pt x="373" y="1263"/>
                        <a:pt x="355" y="1279"/>
                      </a:cubicBezTo>
                      <a:cubicBezTo>
                        <a:pt x="338" y="1295"/>
                        <a:pt x="349" y="1304"/>
                        <a:pt x="337" y="1298"/>
                      </a:cubicBezTo>
                      <a:cubicBezTo>
                        <a:pt x="325" y="1293"/>
                        <a:pt x="319" y="1289"/>
                        <a:pt x="319" y="1289"/>
                      </a:cubicBezTo>
                      <a:cubicBezTo>
                        <a:pt x="315" y="1300"/>
                        <a:pt x="315" y="1300"/>
                        <a:pt x="315" y="1300"/>
                      </a:cubicBezTo>
                      <a:cubicBezTo>
                        <a:pt x="315" y="1300"/>
                        <a:pt x="321" y="1333"/>
                        <a:pt x="333" y="1333"/>
                      </a:cubicBezTo>
                      <a:cubicBezTo>
                        <a:pt x="345" y="1333"/>
                        <a:pt x="388" y="1336"/>
                        <a:pt x="388" y="1336"/>
                      </a:cubicBezTo>
                      <a:cubicBezTo>
                        <a:pt x="388" y="1336"/>
                        <a:pt x="394" y="1364"/>
                        <a:pt x="404" y="1368"/>
                      </a:cubicBezTo>
                      <a:cubicBezTo>
                        <a:pt x="414" y="1371"/>
                        <a:pt x="446" y="1386"/>
                        <a:pt x="453" y="1377"/>
                      </a:cubicBezTo>
                      <a:cubicBezTo>
                        <a:pt x="461" y="1368"/>
                        <a:pt x="463" y="1358"/>
                        <a:pt x="467" y="1353"/>
                      </a:cubicBezTo>
                      <a:cubicBezTo>
                        <a:pt x="471" y="1348"/>
                        <a:pt x="482" y="1334"/>
                        <a:pt x="482" y="1339"/>
                      </a:cubicBezTo>
                      <a:cubicBezTo>
                        <a:pt x="482" y="1344"/>
                        <a:pt x="481" y="1366"/>
                        <a:pt x="488" y="1366"/>
                      </a:cubicBezTo>
                      <a:cubicBezTo>
                        <a:pt x="495" y="1366"/>
                        <a:pt x="514" y="1357"/>
                        <a:pt x="517" y="1376"/>
                      </a:cubicBezTo>
                      <a:cubicBezTo>
                        <a:pt x="519" y="1396"/>
                        <a:pt x="520" y="1408"/>
                        <a:pt x="524" y="1408"/>
                      </a:cubicBezTo>
                      <a:cubicBezTo>
                        <a:pt x="528" y="1408"/>
                        <a:pt x="539" y="1409"/>
                        <a:pt x="539" y="1413"/>
                      </a:cubicBezTo>
                      <a:cubicBezTo>
                        <a:pt x="539" y="1417"/>
                        <a:pt x="548" y="1444"/>
                        <a:pt x="553" y="1448"/>
                      </a:cubicBezTo>
                      <a:cubicBezTo>
                        <a:pt x="557" y="1452"/>
                        <a:pt x="578" y="1455"/>
                        <a:pt x="578" y="1462"/>
                      </a:cubicBezTo>
                      <a:cubicBezTo>
                        <a:pt x="578" y="1468"/>
                        <a:pt x="576" y="1482"/>
                        <a:pt x="591" y="1491"/>
                      </a:cubicBezTo>
                      <a:cubicBezTo>
                        <a:pt x="605" y="1500"/>
                        <a:pt x="636" y="1530"/>
                        <a:pt x="636" y="1535"/>
                      </a:cubicBezTo>
                      <a:cubicBezTo>
                        <a:pt x="636" y="1540"/>
                        <a:pt x="631" y="1547"/>
                        <a:pt x="639" y="1547"/>
                      </a:cubicBezTo>
                      <a:cubicBezTo>
                        <a:pt x="646" y="1547"/>
                        <a:pt x="652" y="1545"/>
                        <a:pt x="652" y="1552"/>
                      </a:cubicBezTo>
                      <a:cubicBezTo>
                        <a:pt x="652" y="1558"/>
                        <a:pt x="661" y="1571"/>
                        <a:pt x="663" y="1571"/>
                      </a:cubicBezTo>
                      <a:cubicBezTo>
                        <a:pt x="666" y="1571"/>
                        <a:pt x="673" y="1569"/>
                        <a:pt x="676" y="1575"/>
                      </a:cubicBezTo>
                      <a:cubicBezTo>
                        <a:pt x="679" y="1581"/>
                        <a:pt x="678" y="1596"/>
                        <a:pt x="688" y="1600"/>
                      </a:cubicBezTo>
                      <a:cubicBezTo>
                        <a:pt x="698" y="1603"/>
                        <a:pt x="704" y="1602"/>
                        <a:pt x="707" y="1608"/>
                      </a:cubicBezTo>
                      <a:cubicBezTo>
                        <a:pt x="711" y="1614"/>
                        <a:pt x="722" y="1645"/>
                        <a:pt x="729" y="1645"/>
                      </a:cubicBezTo>
                      <a:cubicBezTo>
                        <a:pt x="735" y="1645"/>
                        <a:pt x="731" y="1653"/>
                        <a:pt x="742" y="1660"/>
                      </a:cubicBezTo>
                      <a:cubicBezTo>
                        <a:pt x="753" y="1668"/>
                        <a:pt x="763" y="1666"/>
                        <a:pt x="765" y="1672"/>
                      </a:cubicBezTo>
                      <a:cubicBezTo>
                        <a:pt x="767" y="1679"/>
                        <a:pt x="772" y="1706"/>
                        <a:pt x="781" y="1706"/>
                      </a:cubicBezTo>
                      <a:cubicBezTo>
                        <a:pt x="789" y="1707"/>
                        <a:pt x="813" y="1721"/>
                        <a:pt x="817" y="1730"/>
                      </a:cubicBezTo>
                      <a:cubicBezTo>
                        <a:pt x="822" y="1740"/>
                        <a:pt x="803" y="1740"/>
                        <a:pt x="821" y="1748"/>
                      </a:cubicBezTo>
                      <a:cubicBezTo>
                        <a:pt x="840" y="1756"/>
                        <a:pt x="873" y="1809"/>
                        <a:pt x="892" y="1812"/>
                      </a:cubicBezTo>
                      <a:cubicBezTo>
                        <a:pt x="911" y="1816"/>
                        <a:pt x="907" y="1808"/>
                        <a:pt x="916" y="1819"/>
                      </a:cubicBezTo>
                      <a:cubicBezTo>
                        <a:pt x="925" y="1830"/>
                        <a:pt x="949" y="1844"/>
                        <a:pt x="956" y="1846"/>
                      </a:cubicBezTo>
                      <a:cubicBezTo>
                        <a:pt x="963" y="1848"/>
                        <a:pt x="987" y="1847"/>
                        <a:pt x="993" y="1854"/>
                      </a:cubicBezTo>
                      <a:cubicBezTo>
                        <a:pt x="1000" y="1860"/>
                        <a:pt x="1031" y="1878"/>
                        <a:pt x="1031" y="1878"/>
                      </a:cubicBezTo>
                      <a:cubicBezTo>
                        <a:pt x="1031" y="1878"/>
                        <a:pt x="1037" y="1960"/>
                        <a:pt x="1052" y="1978"/>
                      </a:cubicBezTo>
                      <a:cubicBezTo>
                        <a:pt x="1067" y="1997"/>
                        <a:pt x="1067" y="2002"/>
                        <a:pt x="1101" y="1996"/>
                      </a:cubicBezTo>
                      <a:cubicBezTo>
                        <a:pt x="1136" y="1990"/>
                        <a:pt x="1175" y="1955"/>
                        <a:pt x="1185" y="1955"/>
                      </a:cubicBezTo>
                      <a:cubicBezTo>
                        <a:pt x="1195" y="1955"/>
                        <a:pt x="1211" y="1932"/>
                        <a:pt x="1243" y="1934"/>
                      </a:cubicBezTo>
                      <a:cubicBezTo>
                        <a:pt x="1274" y="1935"/>
                        <a:pt x="1275" y="1940"/>
                        <a:pt x="1296" y="1957"/>
                      </a:cubicBezTo>
                      <a:cubicBezTo>
                        <a:pt x="1317" y="1974"/>
                        <a:pt x="1325" y="1974"/>
                        <a:pt x="1326" y="1977"/>
                      </a:cubicBezTo>
                      <a:cubicBezTo>
                        <a:pt x="1327" y="1980"/>
                        <a:pt x="1325" y="1988"/>
                        <a:pt x="1331" y="1988"/>
                      </a:cubicBezTo>
                      <a:cubicBezTo>
                        <a:pt x="1336" y="1988"/>
                        <a:pt x="1349" y="1986"/>
                        <a:pt x="1350" y="1989"/>
                      </a:cubicBezTo>
                      <a:cubicBezTo>
                        <a:pt x="1351" y="1992"/>
                        <a:pt x="1353" y="2010"/>
                        <a:pt x="1365" y="2012"/>
                      </a:cubicBezTo>
                      <a:cubicBezTo>
                        <a:pt x="1376" y="2013"/>
                        <a:pt x="1387" y="2017"/>
                        <a:pt x="1391" y="2026"/>
                      </a:cubicBezTo>
                      <a:cubicBezTo>
                        <a:pt x="1396" y="2036"/>
                        <a:pt x="1407" y="2048"/>
                        <a:pt x="1410" y="2048"/>
                      </a:cubicBezTo>
                      <a:cubicBezTo>
                        <a:pt x="1413" y="2049"/>
                        <a:pt x="1455" y="2107"/>
                        <a:pt x="1457" y="2107"/>
                      </a:cubicBezTo>
                      <a:cubicBezTo>
                        <a:pt x="1460" y="2107"/>
                        <a:pt x="1511" y="2102"/>
                        <a:pt x="1521" y="2111"/>
                      </a:cubicBezTo>
                      <a:cubicBezTo>
                        <a:pt x="1531" y="2120"/>
                        <a:pt x="1575" y="2126"/>
                        <a:pt x="1590" y="2126"/>
                      </a:cubicBezTo>
                      <a:cubicBezTo>
                        <a:pt x="1605" y="2126"/>
                        <a:pt x="1617" y="2126"/>
                        <a:pt x="1624" y="2136"/>
                      </a:cubicBezTo>
                      <a:cubicBezTo>
                        <a:pt x="1631" y="2147"/>
                        <a:pt x="1664" y="2161"/>
                        <a:pt x="1668" y="2166"/>
                      </a:cubicBezTo>
                      <a:cubicBezTo>
                        <a:pt x="1672" y="2172"/>
                        <a:pt x="1686" y="2169"/>
                        <a:pt x="1692" y="2176"/>
                      </a:cubicBezTo>
                      <a:cubicBezTo>
                        <a:pt x="1698" y="2182"/>
                        <a:pt x="1726" y="2195"/>
                        <a:pt x="1747" y="2207"/>
                      </a:cubicBezTo>
                      <a:cubicBezTo>
                        <a:pt x="1767" y="2219"/>
                        <a:pt x="1803" y="2249"/>
                        <a:pt x="1814" y="2256"/>
                      </a:cubicBezTo>
                      <a:cubicBezTo>
                        <a:pt x="1825" y="2262"/>
                        <a:pt x="1851" y="2277"/>
                        <a:pt x="1862" y="2277"/>
                      </a:cubicBezTo>
                      <a:cubicBezTo>
                        <a:pt x="1873" y="2277"/>
                        <a:pt x="1901" y="2286"/>
                        <a:pt x="1905" y="2288"/>
                      </a:cubicBezTo>
                      <a:cubicBezTo>
                        <a:pt x="1908" y="2290"/>
                        <a:pt x="1928" y="2326"/>
                        <a:pt x="1939" y="2340"/>
                      </a:cubicBezTo>
                      <a:cubicBezTo>
                        <a:pt x="1949" y="2353"/>
                        <a:pt x="1953" y="2359"/>
                        <a:pt x="1966" y="2360"/>
                      </a:cubicBezTo>
                      <a:cubicBezTo>
                        <a:pt x="1979" y="2360"/>
                        <a:pt x="2012" y="2372"/>
                        <a:pt x="2032" y="2370"/>
                      </a:cubicBezTo>
                      <a:cubicBezTo>
                        <a:pt x="2052" y="2367"/>
                        <a:pt x="2077" y="2351"/>
                        <a:pt x="2089" y="2352"/>
                      </a:cubicBezTo>
                      <a:cubicBezTo>
                        <a:pt x="2100" y="2354"/>
                        <a:pt x="2127" y="2359"/>
                        <a:pt x="2131" y="2359"/>
                      </a:cubicBezTo>
                      <a:cubicBezTo>
                        <a:pt x="2136" y="2359"/>
                        <a:pt x="2180" y="2339"/>
                        <a:pt x="2203" y="2338"/>
                      </a:cubicBezTo>
                      <a:cubicBezTo>
                        <a:pt x="2227" y="2338"/>
                        <a:pt x="2246" y="2358"/>
                        <a:pt x="2275" y="2365"/>
                      </a:cubicBezTo>
                      <a:cubicBezTo>
                        <a:pt x="2303" y="2372"/>
                        <a:pt x="2291" y="2382"/>
                        <a:pt x="2323" y="2382"/>
                      </a:cubicBezTo>
                      <a:cubicBezTo>
                        <a:pt x="2328" y="2382"/>
                        <a:pt x="2333" y="2381"/>
                        <a:pt x="2338" y="2380"/>
                      </a:cubicBezTo>
                      <a:cubicBezTo>
                        <a:pt x="2361" y="2375"/>
                        <a:pt x="2376" y="2360"/>
                        <a:pt x="2378" y="2360"/>
                      </a:cubicBezTo>
                      <a:cubicBezTo>
                        <a:pt x="2380" y="2360"/>
                        <a:pt x="2400" y="2377"/>
                        <a:pt x="2407" y="2378"/>
                      </a:cubicBezTo>
                      <a:cubicBezTo>
                        <a:pt x="2415" y="2380"/>
                        <a:pt x="2467" y="2389"/>
                        <a:pt x="2486" y="2414"/>
                      </a:cubicBezTo>
                      <a:cubicBezTo>
                        <a:pt x="2505" y="2438"/>
                        <a:pt x="2507" y="2454"/>
                        <a:pt x="2507" y="2457"/>
                      </a:cubicBezTo>
                      <a:cubicBezTo>
                        <a:pt x="2507" y="2460"/>
                        <a:pt x="2519" y="2509"/>
                        <a:pt x="2526" y="2524"/>
                      </a:cubicBezTo>
                      <a:cubicBezTo>
                        <a:pt x="2533" y="2538"/>
                        <a:pt x="2544" y="2574"/>
                        <a:pt x="2544" y="2577"/>
                      </a:cubicBezTo>
                      <a:cubicBezTo>
                        <a:pt x="2544" y="2580"/>
                        <a:pt x="2545" y="2613"/>
                        <a:pt x="2572" y="2628"/>
                      </a:cubicBezTo>
                      <a:cubicBezTo>
                        <a:pt x="2599" y="2644"/>
                        <a:pt x="2600" y="2642"/>
                        <a:pt x="2603" y="2654"/>
                      </a:cubicBezTo>
                      <a:cubicBezTo>
                        <a:pt x="2605" y="2666"/>
                        <a:pt x="2617" y="2690"/>
                        <a:pt x="2629" y="2694"/>
                      </a:cubicBezTo>
                      <a:cubicBezTo>
                        <a:pt x="2640" y="2699"/>
                        <a:pt x="2666" y="2704"/>
                        <a:pt x="2667" y="2710"/>
                      </a:cubicBezTo>
                      <a:cubicBezTo>
                        <a:pt x="2669" y="2717"/>
                        <a:pt x="2675" y="2728"/>
                        <a:pt x="2688" y="2728"/>
                      </a:cubicBezTo>
                      <a:cubicBezTo>
                        <a:pt x="2701" y="2728"/>
                        <a:pt x="2705" y="2737"/>
                        <a:pt x="2705" y="2737"/>
                      </a:cubicBezTo>
                      <a:cubicBezTo>
                        <a:pt x="2761" y="2786"/>
                        <a:pt x="2761" y="2786"/>
                        <a:pt x="2761" y="2786"/>
                      </a:cubicBezTo>
                      <a:cubicBezTo>
                        <a:pt x="2761" y="2786"/>
                        <a:pt x="2750" y="2805"/>
                        <a:pt x="2755" y="2806"/>
                      </a:cubicBezTo>
                      <a:cubicBezTo>
                        <a:pt x="2761" y="2808"/>
                        <a:pt x="2779" y="2830"/>
                        <a:pt x="2789" y="2826"/>
                      </a:cubicBezTo>
                      <a:cubicBezTo>
                        <a:pt x="2799" y="2822"/>
                        <a:pt x="2824" y="2803"/>
                        <a:pt x="2826" y="2792"/>
                      </a:cubicBezTo>
                      <a:cubicBezTo>
                        <a:pt x="2828" y="2782"/>
                        <a:pt x="2847" y="2744"/>
                        <a:pt x="2849" y="2738"/>
                      </a:cubicBezTo>
                      <a:cubicBezTo>
                        <a:pt x="2850" y="2733"/>
                        <a:pt x="2877" y="2706"/>
                        <a:pt x="2887" y="2688"/>
                      </a:cubicBezTo>
                      <a:cubicBezTo>
                        <a:pt x="2897" y="2670"/>
                        <a:pt x="2908" y="2650"/>
                        <a:pt x="2909" y="2641"/>
                      </a:cubicBezTo>
                      <a:cubicBezTo>
                        <a:pt x="2909" y="2640"/>
                        <a:pt x="2909" y="2638"/>
                        <a:pt x="2909" y="2636"/>
                      </a:cubicBezTo>
                      <a:cubicBezTo>
                        <a:pt x="2842" y="2634"/>
                        <a:pt x="2842" y="2634"/>
                        <a:pt x="2842" y="2634"/>
                      </a:cubicBezTo>
                      <a:cubicBezTo>
                        <a:pt x="2872" y="1922"/>
                        <a:pt x="2872" y="1922"/>
                        <a:pt x="2872" y="1922"/>
                      </a:cubicBezTo>
                      <a:cubicBezTo>
                        <a:pt x="2872" y="1922"/>
                        <a:pt x="2946" y="1904"/>
                        <a:pt x="2961" y="1909"/>
                      </a:cubicBezTo>
                      <a:cubicBezTo>
                        <a:pt x="2977" y="1914"/>
                        <a:pt x="3071" y="1920"/>
                        <a:pt x="3071" y="1920"/>
                      </a:cubicBezTo>
                      <a:cubicBezTo>
                        <a:pt x="3071" y="1920"/>
                        <a:pt x="3109" y="1954"/>
                        <a:pt x="3125" y="1964"/>
                      </a:cubicBezTo>
                      <a:cubicBezTo>
                        <a:pt x="3140" y="1973"/>
                        <a:pt x="3148" y="1996"/>
                        <a:pt x="3165" y="1996"/>
                      </a:cubicBezTo>
                      <a:cubicBezTo>
                        <a:pt x="3183" y="1997"/>
                        <a:pt x="3185" y="2015"/>
                        <a:pt x="3197" y="2021"/>
                      </a:cubicBezTo>
                      <a:cubicBezTo>
                        <a:pt x="3208" y="2027"/>
                        <a:pt x="3226" y="2047"/>
                        <a:pt x="3226" y="2047"/>
                      </a:cubicBezTo>
                      <a:cubicBezTo>
                        <a:pt x="3226" y="2047"/>
                        <a:pt x="3262" y="2014"/>
                        <a:pt x="3272" y="1996"/>
                      </a:cubicBezTo>
                      <a:cubicBezTo>
                        <a:pt x="3282" y="1978"/>
                        <a:pt x="3302" y="1960"/>
                        <a:pt x="3306" y="1949"/>
                      </a:cubicBezTo>
                      <a:cubicBezTo>
                        <a:pt x="3310" y="1938"/>
                        <a:pt x="3333" y="1924"/>
                        <a:pt x="3339" y="1910"/>
                      </a:cubicBezTo>
                      <a:cubicBezTo>
                        <a:pt x="3344" y="1896"/>
                        <a:pt x="3353" y="1896"/>
                        <a:pt x="3369" y="1872"/>
                      </a:cubicBezTo>
                      <a:cubicBezTo>
                        <a:pt x="3377" y="1858"/>
                        <a:pt x="3397" y="1835"/>
                        <a:pt x="3413" y="1818"/>
                      </a:cubicBezTo>
                      <a:cubicBezTo>
                        <a:pt x="3409" y="1815"/>
                        <a:pt x="3404" y="1813"/>
                        <a:pt x="3399" y="1812"/>
                      </a:cubicBezTo>
                      <a:cubicBezTo>
                        <a:pt x="3387" y="1811"/>
                        <a:pt x="3352" y="1822"/>
                        <a:pt x="3339" y="1823"/>
                      </a:cubicBezTo>
                      <a:cubicBezTo>
                        <a:pt x="3327" y="1824"/>
                        <a:pt x="3325" y="1836"/>
                        <a:pt x="3307" y="1846"/>
                      </a:cubicBezTo>
                      <a:cubicBezTo>
                        <a:pt x="3288" y="1855"/>
                        <a:pt x="3265" y="1830"/>
                        <a:pt x="3265" y="1826"/>
                      </a:cubicBezTo>
                      <a:cubicBezTo>
                        <a:pt x="3265" y="1822"/>
                        <a:pt x="3278" y="1817"/>
                        <a:pt x="3281" y="1806"/>
                      </a:cubicBezTo>
                      <a:cubicBezTo>
                        <a:pt x="3285" y="1794"/>
                        <a:pt x="3301" y="1782"/>
                        <a:pt x="3301" y="1775"/>
                      </a:cubicBezTo>
                      <a:cubicBezTo>
                        <a:pt x="3301" y="1768"/>
                        <a:pt x="3289" y="1758"/>
                        <a:pt x="3281" y="1754"/>
                      </a:cubicBezTo>
                      <a:cubicBezTo>
                        <a:pt x="3272" y="1750"/>
                        <a:pt x="3270" y="1761"/>
                        <a:pt x="3261" y="1767"/>
                      </a:cubicBezTo>
                      <a:cubicBezTo>
                        <a:pt x="3253" y="1773"/>
                        <a:pt x="3243" y="1734"/>
                        <a:pt x="3235" y="1718"/>
                      </a:cubicBezTo>
                      <a:cubicBezTo>
                        <a:pt x="3227" y="1702"/>
                        <a:pt x="3275" y="1675"/>
                        <a:pt x="3292" y="1653"/>
                      </a:cubicBezTo>
                      <a:cubicBezTo>
                        <a:pt x="3309" y="1631"/>
                        <a:pt x="3358" y="1557"/>
                        <a:pt x="3358" y="1557"/>
                      </a:cubicBezTo>
                      <a:cubicBezTo>
                        <a:pt x="3358" y="1557"/>
                        <a:pt x="3289" y="1524"/>
                        <a:pt x="3288" y="1522"/>
                      </a:cubicBezTo>
                      <a:cubicBezTo>
                        <a:pt x="3287" y="1519"/>
                        <a:pt x="3300" y="1502"/>
                        <a:pt x="3301" y="1492"/>
                      </a:cubicBezTo>
                      <a:cubicBezTo>
                        <a:pt x="3301" y="1482"/>
                        <a:pt x="3258" y="1481"/>
                        <a:pt x="3258" y="1481"/>
                      </a:cubicBezTo>
                      <a:cubicBezTo>
                        <a:pt x="3237" y="1448"/>
                        <a:pt x="3237" y="1448"/>
                        <a:pt x="3237" y="1448"/>
                      </a:cubicBezTo>
                      <a:cubicBezTo>
                        <a:pt x="3237" y="1448"/>
                        <a:pt x="3287" y="1417"/>
                        <a:pt x="3294" y="1409"/>
                      </a:cubicBezTo>
                      <a:cubicBezTo>
                        <a:pt x="3301" y="1401"/>
                        <a:pt x="3305" y="1392"/>
                        <a:pt x="3311" y="1378"/>
                      </a:cubicBezTo>
                      <a:cubicBezTo>
                        <a:pt x="3317" y="1364"/>
                        <a:pt x="3297" y="1280"/>
                        <a:pt x="3297" y="1280"/>
                      </a:cubicBezTo>
                      <a:cubicBezTo>
                        <a:pt x="3297" y="1280"/>
                        <a:pt x="3304" y="1236"/>
                        <a:pt x="3303" y="1231"/>
                      </a:cubicBezTo>
                      <a:cubicBezTo>
                        <a:pt x="3301" y="1226"/>
                        <a:pt x="3295" y="1216"/>
                        <a:pt x="3272" y="1193"/>
                      </a:cubicBezTo>
                      <a:cubicBezTo>
                        <a:pt x="3249" y="1170"/>
                        <a:pt x="3189" y="1215"/>
                        <a:pt x="3171" y="1214"/>
                      </a:cubicBezTo>
                      <a:cubicBezTo>
                        <a:pt x="3154" y="1214"/>
                        <a:pt x="3099" y="1194"/>
                        <a:pt x="3093" y="1189"/>
                      </a:cubicBezTo>
                      <a:cubicBezTo>
                        <a:pt x="3086" y="1184"/>
                        <a:pt x="3044" y="1189"/>
                        <a:pt x="3026" y="1186"/>
                      </a:cubicBezTo>
                      <a:cubicBezTo>
                        <a:pt x="3008" y="1184"/>
                        <a:pt x="2964" y="1152"/>
                        <a:pt x="2960" y="1140"/>
                      </a:cubicBezTo>
                      <a:cubicBezTo>
                        <a:pt x="2956" y="1127"/>
                        <a:pt x="2955" y="1110"/>
                        <a:pt x="2955" y="1110"/>
                      </a:cubicBezTo>
                      <a:cubicBezTo>
                        <a:pt x="2955" y="1110"/>
                        <a:pt x="2961" y="1100"/>
                        <a:pt x="2973" y="1090"/>
                      </a:cubicBezTo>
                      <a:cubicBezTo>
                        <a:pt x="2986" y="1081"/>
                        <a:pt x="3018" y="1047"/>
                        <a:pt x="3021" y="1042"/>
                      </a:cubicBezTo>
                      <a:cubicBezTo>
                        <a:pt x="3025" y="1036"/>
                        <a:pt x="3031" y="1022"/>
                        <a:pt x="3044" y="1018"/>
                      </a:cubicBezTo>
                      <a:cubicBezTo>
                        <a:pt x="3057" y="1015"/>
                        <a:pt x="3065" y="1006"/>
                        <a:pt x="3075" y="989"/>
                      </a:cubicBezTo>
                      <a:cubicBezTo>
                        <a:pt x="3086" y="972"/>
                        <a:pt x="3091" y="954"/>
                        <a:pt x="3094" y="946"/>
                      </a:cubicBezTo>
                      <a:cubicBezTo>
                        <a:pt x="3097" y="938"/>
                        <a:pt x="3078" y="924"/>
                        <a:pt x="3063" y="906"/>
                      </a:cubicBezTo>
                      <a:cubicBezTo>
                        <a:pt x="3049" y="888"/>
                        <a:pt x="2996" y="908"/>
                        <a:pt x="2980" y="888"/>
                      </a:cubicBezTo>
                      <a:cubicBezTo>
                        <a:pt x="2964" y="868"/>
                        <a:pt x="2993" y="846"/>
                        <a:pt x="2994" y="837"/>
                      </a:cubicBezTo>
                      <a:cubicBezTo>
                        <a:pt x="2995" y="828"/>
                        <a:pt x="2996" y="791"/>
                        <a:pt x="2992" y="766"/>
                      </a:cubicBezTo>
                      <a:cubicBezTo>
                        <a:pt x="2988" y="742"/>
                        <a:pt x="2924" y="750"/>
                        <a:pt x="2924" y="750"/>
                      </a:cubicBezTo>
                      <a:cubicBezTo>
                        <a:pt x="2924" y="750"/>
                        <a:pt x="2902" y="740"/>
                        <a:pt x="2898" y="736"/>
                      </a:cubicBezTo>
                      <a:cubicBezTo>
                        <a:pt x="2894" y="732"/>
                        <a:pt x="2906" y="715"/>
                        <a:pt x="2924" y="697"/>
                      </a:cubicBezTo>
                      <a:cubicBezTo>
                        <a:pt x="2942" y="679"/>
                        <a:pt x="2886" y="663"/>
                        <a:pt x="2867" y="650"/>
                      </a:cubicBezTo>
                      <a:cubicBezTo>
                        <a:pt x="2847" y="638"/>
                        <a:pt x="2799" y="660"/>
                        <a:pt x="2792" y="664"/>
                      </a:cubicBezTo>
                      <a:cubicBezTo>
                        <a:pt x="2785" y="668"/>
                        <a:pt x="2807" y="686"/>
                        <a:pt x="2813" y="689"/>
                      </a:cubicBezTo>
                      <a:cubicBezTo>
                        <a:pt x="2818" y="692"/>
                        <a:pt x="2813" y="705"/>
                        <a:pt x="2813" y="707"/>
                      </a:cubicBezTo>
                      <a:cubicBezTo>
                        <a:pt x="2813" y="709"/>
                        <a:pt x="2727" y="722"/>
                        <a:pt x="2697" y="726"/>
                      </a:cubicBezTo>
                      <a:cubicBezTo>
                        <a:pt x="2667" y="731"/>
                        <a:pt x="2647" y="741"/>
                        <a:pt x="2639" y="741"/>
                      </a:cubicBezTo>
                      <a:cubicBezTo>
                        <a:pt x="2630" y="741"/>
                        <a:pt x="2623" y="716"/>
                        <a:pt x="2622" y="709"/>
                      </a:cubicBezTo>
                      <a:cubicBezTo>
                        <a:pt x="2621" y="702"/>
                        <a:pt x="2610" y="690"/>
                        <a:pt x="2595" y="680"/>
                      </a:cubicBezTo>
                      <a:cubicBezTo>
                        <a:pt x="2581" y="669"/>
                        <a:pt x="2539" y="709"/>
                        <a:pt x="2533" y="714"/>
                      </a:cubicBezTo>
                      <a:cubicBezTo>
                        <a:pt x="2526" y="720"/>
                        <a:pt x="2483" y="762"/>
                        <a:pt x="2481" y="766"/>
                      </a:cubicBezTo>
                      <a:cubicBezTo>
                        <a:pt x="2479" y="770"/>
                        <a:pt x="2468" y="770"/>
                        <a:pt x="2452" y="770"/>
                      </a:cubicBezTo>
                      <a:cubicBezTo>
                        <a:pt x="2436" y="770"/>
                        <a:pt x="2411" y="818"/>
                        <a:pt x="2399" y="832"/>
                      </a:cubicBezTo>
                      <a:cubicBezTo>
                        <a:pt x="2387" y="846"/>
                        <a:pt x="2371" y="869"/>
                        <a:pt x="2351" y="892"/>
                      </a:cubicBezTo>
                      <a:cubicBezTo>
                        <a:pt x="2331" y="916"/>
                        <a:pt x="2307" y="890"/>
                        <a:pt x="2297" y="890"/>
                      </a:cubicBezTo>
                      <a:cubicBezTo>
                        <a:pt x="2287" y="889"/>
                        <a:pt x="2293" y="857"/>
                        <a:pt x="2287" y="840"/>
                      </a:cubicBezTo>
                      <a:cubicBezTo>
                        <a:pt x="2282" y="824"/>
                        <a:pt x="2247" y="824"/>
                        <a:pt x="2247" y="824"/>
                      </a:cubicBezTo>
                      <a:cubicBezTo>
                        <a:pt x="2252" y="766"/>
                        <a:pt x="2252" y="766"/>
                        <a:pt x="2252" y="766"/>
                      </a:cubicBezTo>
                      <a:cubicBezTo>
                        <a:pt x="2252" y="766"/>
                        <a:pt x="2279" y="720"/>
                        <a:pt x="2283" y="716"/>
                      </a:cubicBezTo>
                      <a:cubicBezTo>
                        <a:pt x="2287" y="713"/>
                        <a:pt x="2273" y="700"/>
                        <a:pt x="2271" y="684"/>
                      </a:cubicBezTo>
                      <a:cubicBezTo>
                        <a:pt x="2268" y="667"/>
                        <a:pt x="2287" y="643"/>
                        <a:pt x="2287" y="636"/>
                      </a:cubicBezTo>
                      <a:cubicBezTo>
                        <a:pt x="2287" y="630"/>
                        <a:pt x="2255" y="600"/>
                        <a:pt x="2250" y="593"/>
                      </a:cubicBezTo>
                      <a:cubicBezTo>
                        <a:pt x="2245" y="586"/>
                        <a:pt x="2270" y="536"/>
                        <a:pt x="2276" y="508"/>
                      </a:cubicBezTo>
                      <a:cubicBezTo>
                        <a:pt x="2280" y="490"/>
                        <a:pt x="2296" y="461"/>
                        <a:pt x="2308" y="442"/>
                      </a:cubicBezTo>
                      <a:cubicBezTo>
                        <a:pt x="2307" y="442"/>
                        <a:pt x="2307" y="442"/>
                        <a:pt x="2307" y="442"/>
                      </a:cubicBezTo>
                      <a:cubicBezTo>
                        <a:pt x="2305" y="442"/>
                        <a:pt x="2305" y="430"/>
                        <a:pt x="2305" y="415"/>
                      </a:cubicBezTo>
                      <a:cubicBezTo>
                        <a:pt x="2306" y="400"/>
                        <a:pt x="2293" y="384"/>
                        <a:pt x="2293" y="384"/>
                      </a:cubicBezTo>
                      <a:cubicBezTo>
                        <a:pt x="2293" y="384"/>
                        <a:pt x="2280" y="361"/>
                        <a:pt x="2280" y="358"/>
                      </a:cubicBezTo>
                      <a:cubicBezTo>
                        <a:pt x="2280" y="356"/>
                        <a:pt x="2272" y="342"/>
                        <a:pt x="2258" y="339"/>
                      </a:cubicBezTo>
                      <a:cubicBezTo>
                        <a:pt x="2244" y="336"/>
                        <a:pt x="2245" y="304"/>
                        <a:pt x="2243" y="302"/>
                      </a:cubicBezTo>
                      <a:cubicBezTo>
                        <a:pt x="2241" y="300"/>
                        <a:pt x="2238" y="296"/>
                        <a:pt x="2235" y="290"/>
                      </a:cubicBezTo>
                      <a:cubicBezTo>
                        <a:pt x="2231" y="283"/>
                        <a:pt x="2218" y="290"/>
                        <a:pt x="2213" y="272"/>
                      </a:cubicBezTo>
                      <a:cubicBezTo>
                        <a:pt x="2207" y="253"/>
                        <a:pt x="2191" y="227"/>
                        <a:pt x="2191" y="227"/>
                      </a:cubicBezTo>
                      <a:cubicBezTo>
                        <a:pt x="2191" y="227"/>
                        <a:pt x="2183" y="229"/>
                        <a:pt x="2176" y="230"/>
                      </a:cubicBezTo>
                      <a:cubicBezTo>
                        <a:pt x="2171" y="231"/>
                        <a:pt x="2167" y="232"/>
                        <a:pt x="2166" y="232"/>
                      </a:cubicBezTo>
                      <a:cubicBezTo>
                        <a:pt x="2163" y="234"/>
                        <a:pt x="2137" y="259"/>
                        <a:pt x="2123" y="260"/>
                      </a:cubicBezTo>
                      <a:cubicBezTo>
                        <a:pt x="2110" y="262"/>
                        <a:pt x="2117" y="280"/>
                        <a:pt x="2092" y="298"/>
                      </a:cubicBezTo>
                      <a:cubicBezTo>
                        <a:pt x="2067" y="317"/>
                        <a:pt x="2011" y="331"/>
                        <a:pt x="1994" y="332"/>
                      </a:cubicBezTo>
                      <a:cubicBezTo>
                        <a:pt x="1977" y="334"/>
                        <a:pt x="1749" y="339"/>
                        <a:pt x="1749" y="339"/>
                      </a:cubicBezTo>
                      <a:cubicBezTo>
                        <a:pt x="1749" y="339"/>
                        <a:pt x="1689" y="322"/>
                        <a:pt x="1679" y="315"/>
                      </a:cubicBezTo>
                      <a:cubicBezTo>
                        <a:pt x="1670" y="308"/>
                        <a:pt x="1661" y="311"/>
                        <a:pt x="1650" y="301"/>
                      </a:cubicBezTo>
                      <a:cubicBezTo>
                        <a:pt x="1639" y="291"/>
                        <a:pt x="1623" y="242"/>
                        <a:pt x="1609" y="215"/>
                      </a:cubicBezTo>
                      <a:cubicBezTo>
                        <a:pt x="1595" y="188"/>
                        <a:pt x="1587" y="106"/>
                        <a:pt x="1584" y="71"/>
                      </a:cubicBezTo>
                      <a:cubicBezTo>
                        <a:pt x="1581" y="36"/>
                        <a:pt x="1497" y="1"/>
                        <a:pt x="1497" y="1"/>
                      </a:cubicBezTo>
                      <a:cubicBezTo>
                        <a:pt x="1497" y="1"/>
                        <a:pt x="1401" y="0"/>
                        <a:pt x="1396" y="2"/>
                      </a:cubicBezTo>
                      <a:cubicBezTo>
                        <a:pt x="1391" y="3"/>
                        <a:pt x="1331" y="10"/>
                        <a:pt x="1299" y="8"/>
                      </a:cubicBezTo>
                      <a:cubicBezTo>
                        <a:pt x="1266" y="7"/>
                        <a:pt x="1245" y="27"/>
                        <a:pt x="1227" y="30"/>
                      </a:cubicBezTo>
                      <a:cubicBezTo>
                        <a:pt x="1208" y="32"/>
                        <a:pt x="1173" y="32"/>
                        <a:pt x="1155" y="36"/>
                      </a:cubicBezTo>
                      <a:cubicBezTo>
                        <a:pt x="1136" y="41"/>
                        <a:pt x="1043" y="84"/>
                        <a:pt x="1038" y="85"/>
                      </a:cubicBezTo>
                      <a:cubicBezTo>
                        <a:pt x="1033" y="86"/>
                        <a:pt x="1036" y="92"/>
                        <a:pt x="1036" y="130"/>
                      </a:cubicBezTo>
                      <a:cubicBezTo>
                        <a:pt x="1036" y="168"/>
                        <a:pt x="1115" y="178"/>
                        <a:pt x="1121" y="182"/>
                      </a:cubicBezTo>
                      <a:cubicBezTo>
                        <a:pt x="1127" y="186"/>
                        <a:pt x="1151" y="193"/>
                        <a:pt x="1160" y="193"/>
                      </a:cubicBezTo>
                      <a:cubicBezTo>
                        <a:pt x="1169" y="193"/>
                        <a:pt x="1201" y="239"/>
                        <a:pt x="1201" y="239"/>
                      </a:cubicBezTo>
                      <a:cubicBezTo>
                        <a:pt x="1201" y="239"/>
                        <a:pt x="1278" y="236"/>
                        <a:pt x="1289" y="245"/>
                      </a:cubicBezTo>
                      <a:cubicBezTo>
                        <a:pt x="1299" y="254"/>
                        <a:pt x="1313" y="264"/>
                        <a:pt x="1313" y="292"/>
                      </a:cubicBezTo>
                      <a:cubicBezTo>
                        <a:pt x="1314" y="321"/>
                        <a:pt x="1335" y="358"/>
                        <a:pt x="1335" y="366"/>
                      </a:cubicBezTo>
                      <a:cubicBezTo>
                        <a:pt x="1335" y="375"/>
                        <a:pt x="1320" y="406"/>
                        <a:pt x="1301" y="422"/>
                      </a:cubicBezTo>
                      <a:cubicBezTo>
                        <a:pt x="1283" y="438"/>
                        <a:pt x="1334" y="444"/>
                        <a:pt x="1336" y="444"/>
                      </a:cubicBezTo>
                      <a:cubicBezTo>
                        <a:pt x="1338" y="444"/>
                        <a:pt x="1333" y="457"/>
                        <a:pt x="1335" y="459"/>
                      </a:cubicBezTo>
                      <a:cubicBezTo>
                        <a:pt x="1336" y="461"/>
                        <a:pt x="1383" y="472"/>
                        <a:pt x="1390" y="484"/>
                      </a:cubicBezTo>
                      <a:cubicBezTo>
                        <a:pt x="1397" y="496"/>
                        <a:pt x="1372" y="512"/>
                        <a:pt x="1363" y="521"/>
                      </a:cubicBezTo>
                      <a:cubicBezTo>
                        <a:pt x="1355" y="530"/>
                        <a:pt x="1337" y="532"/>
                        <a:pt x="1319" y="531"/>
                      </a:cubicBezTo>
                      <a:cubicBezTo>
                        <a:pt x="1300" y="530"/>
                        <a:pt x="1280" y="547"/>
                        <a:pt x="1259" y="560"/>
                      </a:cubicBezTo>
                      <a:cubicBezTo>
                        <a:pt x="1237" y="574"/>
                        <a:pt x="1207" y="569"/>
                        <a:pt x="1185" y="567"/>
                      </a:cubicBezTo>
                      <a:cubicBezTo>
                        <a:pt x="1162" y="565"/>
                        <a:pt x="1135" y="551"/>
                        <a:pt x="1118" y="546"/>
                      </a:cubicBezTo>
                      <a:cubicBezTo>
                        <a:pt x="1101" y="540"/>
                        <a:pt x="1096" y="563"/>
                        <a:pt x="1094" y="576"/>
                      </a:cubicBezTo>
                      <a:cubicBezTo>
                        <a:pt x="1092" y="588"/>
                        <a:pt x="1101" y="609"/>
                        <a:pt x="1105" y="632"/>
                      </a:cubicBezTo>
                      <a:cubicBezTo>
                        <a:pt x="1109" y="654"/>
                        <a:pt x="1128" y="658"/>
                        <a:pt x="1128" y="658"/>
                      </a:cubicBezTo>
                      <a:cubicBezTo>
                        <a:pt x="1125" y="799"/>
                        <a:pt x="1125" y="799"/>
                        <a:pt x="1125" y="799"/>
                      </a:cubicBezTo>
                      <a:cubicBezTo>
                        <a:pt x="1171" y="811"/>
                        <a:pt x="1171" y="811"/>
                        <a:pt x="1171" y="811"/>
                      </a:cubicBezTo>
                      <a:cubicBezTo>
                        <a:pt x="1178" y="866"/>
                        <a:pt x="1178" y="866"/>
                        <a:pt x="1178" y="866"/>
                      </a:cubicBezTo>
                      <a:cubicBezTo>
                        <a:pt x="1178" y="866"/>
                        <a:pt x="1204" y="898"/>
                        <a:pt x="1207" y="919"/>
                      </a:cubicBezTo>
                      <a:cubicBezTo>
                        <a:pt x="1211" y="940"/>
                        <a:pt x="1205" y="938"/>
                        <a:pt x="1199" y="947"/>
                      </a:cubicBezTo>
                      <a:cubicBezTo>
                        <a:pt x="1192" y="956"/>
                        <a:pt x="1189" y="954"/>
                        <a:pt x="1186" y="954"/>
                      </a:cubicBezTo>
                      <a:cubicBezTo>
                        <a:pt x="1183" y="955"/>
                        <a:pt x="1173" y="964"/>
                        <a:pt x="1171" y="974"/>
                      </a:cubicBezTo>
                      <a:cubicBezTo>
                        <a:pt x="1169" y="984"/>
                        <a:pt x="1096" y="980"/>
                        <a:pt x="1091" y="980"/>
                      </a:cubicBezTo>
                      <a:cubicBezTo>
                        <a:pt x="1085" y="980"/>
                        <a:pt x="1066" y="971"/>
                        <a:pt x="1056" y="964"/>
                      </a:cubicBezTo>
                      <a:cubicBezTo>
                        <a:pt x="1046" y="956"/>
                        <a:pt x="1021" y="951"/>
                        <a:pt x="1019" y="950"/>
                      </a:cubicBezTo>
                      <a:cubicBezTo>
                        <a:pt x="1017" y="948"/>
                        <a:pt x="997" y="973"/>
                        <a:pt x="986" y="985"/>
                      </a:cubicBezTo>
                      <a:cubicBezTo>
                        <a:pt x="975" y="997"/>
                        <a:pt x="987" y="1042"/>
                        <a:pt x="986" y="1072"/>
                      </a:cubicBezTo>
                      <a:cubicBezTo>
                        <a:pt x="985" y="1101"/>
                        <a:pt x="977" y="1071"/>
                        <a:pt x="973" y="1071"/>
                      </a:cubicBezTo>
                      <a:cubicBezTo>
                        <a:pt x="969" y="1071"/>
                        <a:pt x="970" y="1087"/>
                        <a:pt x="965" y="1092"/>
                      </a:cubicBezTo>
                      <a:cubicBezTo>
                        <a:pt x="959" y="1098"/>
                        <a:pt x="937" y="1092"/>
                        <a:pt x="918" y="1092"/>
                      </a:cubicBezTo>
                      <a:cubicBezTo>
                        <a:pt x="899" y="1092"/>
                        <a:pt x="865" y="1066"/>
                        <a:pt x="865" y="1058"/>
                      </a:cubicBezTo>
                      <a:cubicBezTo>
                        <a:pt x="864" y="1050"/>
                        <a:pt x="875" y="1040"/>
                        <a:pt x="875" y="1018"/>
                      </a:cubicBezTo>
                      <a:cubicBezTo>
                        <a:pt x="875" y="996"/>
                        <a:pt x="829" y="948"/>
                        <a:pt x="821" y="945"/>
                      </a:cubicBezTo>
                      <a:cubicBezTo>
                        <a:pt x="814" y="942"/>
                        <a:pt x="817" y="923"/>
                        <a:pt x="808" y="901"/>
                      </a:cubicBezTo>
                      <a:cubicBezTo>
                        <a:pt x="799" y="879"/>
                        <a:pt x="808" y="770"/>
                        <a:pt x="811" y="764"/>
                      </a:cubicBezTo>
                      <a:cubicBezTo>
                        <a:pt x="815" y="759"/>
                        <a:pt x="829" y="744"/>
                        <a:pt x="843" y="721"/>
                      </a:cubicBezTo>
                      <a:cubicBezTo>
                        <a:pt x="856" y="698"/>
                        <a:pt x="902" y="685"/>
                        <a:pt x="917" y="684"/>
                      </a:cubicBezTo>
                      <a:cubicBezTo>
                        <a:pt x="931" y="682"/>
                        <a:pt x="941" y="664"/>
                        <a:pt x="958" y="655"/>
                      </a:cubicBezTo>
                      <a:cubicBezTo>
                        <a:pt x="975" y="646"/>
                        <a:pt x="995" y="602"/>
                        <a:pt x="1004" y="592"/>
                      </a:cubicBezTo>
                      <a:cubicBezTo>
                        <a:pt x="1013" y="582"/>
                        <a:pt x="1007" y="550"/>
                        <a:pt x="1008" y="536"/>
                      </a:cubicBezTo>
                      <a:cubicBezTo>
                        <a:pt x="1009" y="522"/>
                        <a:pt x="1021" y="493"/>
                        <a:pt x="1023" y="483"/>
                      </a:cubicBezTo>
                      <a:cubicBezTo>
                        <a:pt x="1025" y="473"/>
                        <a:pt x="1015" y="424"/>
                        <a:pt x="1007" y="412"/>
                      </a:cubicBezTo>
                      <a:cubicBezTo>
                        <a:pt x="999" y="400"/>
                        <a:pt x="970" y="415"/>
                        <a:pt x="953" y="418"/>
                      </a:cubicBezTo>
                      <a:cubicBezTo>
                        <a:pt x="937" y="420"/>
                        <a:pt x="916" y="451"/>
                        <a:pt x="910" y="456"/>
                      </a:cubicBezTo>
                      <a:cubicBezTo>
                        <a:pt x="904" y="462"/>
                        <a:pt x="896" y="464"/>
                        <a:pt x="869" y="474"/>
                      </a:cubicBezTo>
                      <a:cubicBezTo>
                        <a:pt x="843" y="484"/>
                        <a:pt x="810" y="450"/>
                        <a:pt x="810" y="450"/>
                      </a:cubicBezTo>
                      <a:cubicBezTo>
                        <a:pt x="810" y="450"/>
                        <a:pt x="765" y="448"/>
                        <a:pt x="749" y="450"/>
                      </a:cubicBezTo>
                      <a:cubicBezTo>
                        <a:pt x="733" y="452"/>
                        <a:pt x="681" y="386"/>
                        <a:pt x="664" y="372"/>
                      </a:cubicBezTo>
                      <a:cubicBezTo>
                        <a:pt x="647" y="358"/>
                        <a:pt x="636" y="347"/>
                        <a:pt x="622" y="329"/>
                      </a:cubicBezTo>
                      <a:cubicBezTo>
                        <a:pt x="608" y="311"/>
                        <a:pt x="553" y="326"/>
                        <a:pt x="553" y="326"/>
                      </a:cubicBezTo>
                      <a:cubicBezTo>
                        <a:pt x="553" y="326"/>
                        <a:pt x="565" y="314"/>
                        <a:pt x="520" y="313"/>
                      </a:cubicBezTo>
                      <a:cubicBezTo>
                        <a:pt x="475" y="312"/>
                        <a:pt x="472" y="333"/>
                        <a:pt x="472" y="333"/>
                      </a:cubicBezTo>
                      <a:cubicBezTo>
                        <a:pt x="328" y="340"/>
                        <a:pt x="328" y="340"/>
                        <a:pt x="328" y="340"/>
                      </a:cubicBezTo>
                      <a:cubicBezTo>
                        <a:pt x="328" y="340"/>
                        <a:pt x="316" y="325"/>
                        <a:pt x="300" y="314"/>
                      </a:cubicBezTo>
                      <a:cubicBezTo>
                        <a:pt x="284" y="304"/>
                        <a:pt x="264" y="289"/>
                        <a:pt x="264" y="281"/>
                      </a:cubicBezTo>
                      <a:cubicBezTo>
                        <a:pt x="264" y="273"/>
                        <a:pt x="239" y="266"/>
                        <a:pt x="201" y="256"/>
                      </a:cubicBezTo>
                      <a:cubicBezTo>
                        <a:pt x="164" y="245"/>
                        <a:pt x="161" y="220"/>
                        <a:pt x="151" y="216"/>
                      </a:cubicBezTo>
                      <a:cubicBezTo>
                        <a:pt x="140" y="212"/>
                        <a:pt x="136" y="224"/>
                        <a:pt x="133" y="229"/>
                      </a:cubicBezTo>
                      <a:cubicBezTo>
                        <a:pt x="133" y="230"/>
                        <a:pt x="129" y="231"/>
                        <a:pt x="124" y="231"/>
                      </a:cubicBezTo>
                      <a:cubicBezTo>
                        <a:pt x="119" y="251"/>
                        <a:pt x="111" y="271"/>
                        <a:pt x="111" y="271"/>
                      </a:cubicBezTo>
                      <a:cubicBezTo>
                        <a:pt x="111" y="271"/>
                        <a:pt x="139" y="286"/>
                        <a:pt x="159" y="303"/>
                      </a:cubicBezTo>
                      <a:cubicBezTo>
                        <a:pt x="179" y="320"/>
                        <a:pt x="154" y="428"/>
                        <a:pt x="154" y="428"/>
                      </a:cubicBezTo>
                      <a:cubicBezTo>
                        <a:pt x="154" y="428"/>
                        <a:pt x="155" y="436"/>
                        <a:pt x="148" y="465"/>
                      </a:cubicBezTo>
                      <a:cubicBezTo>
                        <a:pt x="141" y="494"/>
                        <a:pt x="183" y="540"/>
                        <a:pt x="190" y="559"/>
                      </a:cubicBezTo>
                      <a:cubicBezTo>
                        <a:pt x="197" y="578"/>
                        <a:pt x="234" y="570"/>
                        <a:pt x="234" y="570"/>
                      </a:cubicBezTo>
                      <a:cubicBezTo>
                        <a:pt x="234" y="570"/>
                        <a:pt x="237" y="635"/>
                        <a:pt x="242" y="662"/>
                      </a:cubicBezTo>
                      <a:cubicBezTo>
                        <a:pt x="247" y="689"/>
                        <a:pt x="182" y="768"/>
                        <a:pt x="182" y="768"/>
                      </a:cubicBezTo>
                      <a:cubicBezTo>
                        <a:pt x="198" y="791"/>
                        <a:pt x="198" y="791"/>
                        <a:pt x="198" y="791"/>
                      </a:cubicBezTo>
                      <a:cubicBezTo>
                        <a:pt x="198" y="791"/>
                        <a:pt x="192" y="832"/>
                        <a:pt x="177" y="839"/>
                      </a:cubicBezTo>
                      <a:cubicBezTo>
                        <a:pt x="162" y="846"/>
                        <a:pt x="137" y="815"/>
                        <a:pt x="112" y="803"/>
                      </a:cubicBezTo>
                      <a:cubicBezTo>
                        <a:pt x="87" y="791"/>
                        <a:pt x="51" y="824"/>
                        <a:pt x="51" y="824"/>
                      </a:cubicBezTo>
                      <a:cubicBezTo>
                        <a:pt x="37" y="871"/>
                        <a:pt x="37" y="871"/>
                        <a:pt x="37" y="871"/>
                      </a:cubicBezTo>
                      <a:cubicBezTo>
                        <a:pt x="37" y="871"/>
                        <a:pt x="10" y="914"/>
                        <a:pt x="5" y="965"/>
                      </a:cubicBezTo>
                      <a:cubicBezTo>
                        <a:pt x="0" y="1016"/>
                        <a:pt x="55" y="1040"/>
                        <a:pt x="55" y="1040"/>
                      </a:cubicBezTo>
                      <a:cubicBezTo>
                        <a:pt x="55" y="1040"/>
                        <a:pt x="84" y="1049"/>
                        <a:pt x="87" y="1050"/>
                      </a:cubicBezTo>
                      <a:cubicBezTo>
                        <a:pt x="90" y="1051"/>
                        <a:pt x="91" y="1073"/>
                        <a:pt x="76" y="1102"/>
                      </a:cubicBezTo>
                      <a:cubicBezTo>
                        <a:pt x="61" y="1131"/>
                        <a:pt x="52" y="1119"/>
                        <a:pt x="33" y="1134"/>
                      </a:cubicBezTo>
                      <a:cubicBezTo>
                        <a:pt x="41" y="1146"/>
                        <a:pt x="51" y="1158"/>
                        <a:pt x="61" y="1160"/>
                      </a:cubicBezTo>
                      <a:close/>
                    </a:path>
                  </a:pathLst>
                </a:custGeom>
                <a:solidFill>
                  <a:srgbClr val="FF0000"/>
                </a:solidFill>
                <a:ln w="3175"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9" name="Group 651">
                <a:extLst>
                  <a:ext uri="{FF2B5EF4-FFF2-40B4-BE49-F238E27FC236}">
                    <a16:creationId xmlns:a16="http://schemas.microsoft.com/office/drawing/2014/main" id="{F43DC350-1B2E-AB6B-52E7-4896DB80612C}"/>
                  </a:ext>
                </a:extLst>
              </p:cNvPr>
              <p:cNvGrpSpPr>
                <a:grpSpLocks/>
              </p:cNvGrpSpPr>
              <p:nvPr/>
            </p:nvGrpSpPr>
            <p:grpSpPr bwMode="auto">
              <a:xfrm>
                <a:off x="5131741" y="2657214"/>
                <a:ext cx="4640910" cy="3111349"/>
                <a:chOff x="235" y="702"/>
                <a:chExt cx="4442" cy="2978"/>
              </a:xfrm>
            </p:grpSpPr>
            <p:sp>
              <p:nvSpPr>
                <p:cNvPr id="20" name="Text Box 490">
                  <a:extLst>
                    <a:ext uri="{FF2B5EF4-FFF2-40B4-BE49-F238E27FC236}">
                      <a16:creationId xmlns:a16="http://schemas.microsoft.com/office/drawing/2014/main" id="{1587FC52-56C9-73FB-7E39-A6ECD3BF4E65}"/>
                    </a:ext>
                  </a:extLst>
                </p:cNvPr>
                <p:cNvSpPr txBox="1">
                  <a:spLocks noChangeAspect="1" noChangeArrowheads="1"/>
                </p:cNvSpPr>
                <p:nvPr/>
              </p:nvSpPr>
              <p:spPr bwMode="auto">
                <a:xfrm>
                  <a:off x="1929" y="1020"/>
                  <a:ext cx="413"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Zamfara</a:t>
                  </a:r>
                </a:p>
              </p:txBody>
            </p:sp>
            <p:sp>
              <p:nvSpPr>
                <p:cNvPr id="21" name="Text Box 573">
                  <a:extLst>
                    <a:ext uri="{FF2B5EF4-FFF2-40B4-BE49-F238E27FC236}">
                      <a16:creationId xmlns:a16="http://schemas.microsoft.com/office/drawing/2014/main" id="{22A4D728-E3D0-94DC-939C-81F70D1EA96C}"/>
                    </a:ext>
                  </a:extLst>
                </p:cNvPr>
                <p:cNvSpPr txBox="1">
                  <a:spLocks noChangeAspect="1" noChangeArrowheads="1"/>
                </p:cNvSpPr>
                <p:nvPr/>
              </p:nvSpPr>
              <p:spPr bwMode="auto">
                <a:xfrm>
                  <a:off x="2773" y="1152"/>
                  <a:ext cx="302"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Kano</a:t>
                  </a:r>
                </a:p>
              </p:txBody>
            </p:sp>
            <p:sp>
              <p:nvSpPr>
                <p:cNvPr id="22" name="Text Box 574">
                  <a:extLst>
                    <a:ext uri="{FF2B5EF4-FFF2-40B4-BE49-F238E27FC236}">
                      <a16:creationId xmlns:a16="http://schemas.microsoft.com/office/drawing/2014/main" id="{4294EFEB-B204-1F23-4556-A50224E760F4}"/>
                    </a:ext>
                  </a:extLst>
                </p:cNvPr>
                <p:cNvSpPr txBox="1">
                  <a:spLocks noChangeAspect="1" noChangeArrowheads="1"/>
                </p:cNvSpPr>
                <p:nvPr/>
              </p:nvSpPr>
              <p:spPr bwMode="auto">
                <a:xfrm>
                  <a:off x="2499" y="1659"/>
                  <a:ext cx="390"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Kaduna</a:t>
                  </a:r>
                </a:p>
              </p:txBody>
            </p:sp>
            <p:sp>
              <p:nvSpPr>
                <p:cNvPr id="23" name="Text Box 575">
                  <a:extLst>
                    <a:ext uri="{FF2B5EF4-FFF2-40B4-BE49-F238E27FC236}">
                      <a16:creationId xmlns:a16="http://schemas.microsoft.com/office/drawing/2014/main" id="{AA6762B8-3D83-D1B6-8B9F-8ABED1CB2CAE}"/>
                    </a:ext>
                  </a:extLst>
                </p:cNvPr>
                <p:cNvSpPr txBox="1">
                  <a:spLocks noChangeAspect="1" noChangeArrowheads="1"/>
                </p:cNvSpPr>
                <p:nvPr/>
              </p:nvSpPr>
              <p:spPr bwMode="auto">
                <a:xfrm>
                  <a:off x="1857" y="1832"/>
                  <a:ext cx="313"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Niger</a:t>
                  </a:r>
                </a:p>
              </p:txBody>
            </p:sp>
            <p:sp>
              <p:nvSpPr>
                <p:cNvPr id="24" name="Text Box 576">
                  <a:extLst>
                    <a:ext uri="{FF2B5EF4-FFF2-40B4-BE49-F238E27FC236}">
                      <a16:creationId xmlns:a16="http://schemas.microsoft.com/office/drawing/2014/main" id="{2EC1DA6B-F526-DA84-ECBF-D2F92EBA3F14}"/>
                    </a:ext>
                  </a:extLst>
                </p:cNvPr>
                <p:cNvSpPr txBox="1">
                  <a:spLocks noChangeAspect="1" noChangeArrowheads="1"/>
                </p:cNvSpPr>
                <p:nvPr/>
              </p:nvSpPr>
              <p:spPr bwMode="auto">
                <a:xfrm>
                  <a:off x="1514" y="2213"/>
                  <a:ext cx="346"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Kwara</a:t>
                  </a:r>
                </a:p>
              </p:txBody>
            </p:sp>
            <p:sp>
              <p:nvSpPr>
                <p:cNvPr id="25" name="Text Box 616">
                  <a:extLst>
                    <a:ext uri="{FF2B5EF4-FFF2-40B4-BE49-F238E27FC236}">
                      <a16:creationId xmlns:a16="http://schemas.microsoft.com/office/drawing/2014/main" id="{84D4C1D8-A48E-D9F5-5DD0-A664DA7E2716}"/>
                    </a:ext>
                  </a:extLst>
                </p:cNvPr>
                <p:cNvSpPr txBox="1">
                  <a:spLocks noChangeAspect="1" noChangeArrowheads="1"/>
                </p:cNvSpPr>
                <p:nvPr/>
              </p:nvSpPr>
              <p:spPr bwMode="auto">
                <a:xfrm>
                  <a:off x="1121" y="2369"/>
                  <a:ext cx="266"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Oyo</a:t>
                  </a:r>
                </a:p>
              </p:txBody>
            </p:sp>
            <p:sp>
              <p:nvSpPr>
                <p:cNvPr id="26" name="Text Box 617">
                  <a:extLst>
                    <a:ext uri="{FF2B5EF4-FFF2-40B4-BE49-F238E27FC236}">
                      <a16:creationId xmlns:a16="http://schemas.microsoft.com/office/drawing/2014/main" id="{5079FE12-707C-8EB7-399E-2433CD2CA161}"/>
                    </a:ext>
                  </a:extLst>
                </p:cNvPr>
                <p:cNvSpPr txBox="1">
                  <a:spLocks noChangeAspect="1" noChangeArrowheads="1"/>
                </p:cNvSpPr>
                <p:nvPr/>
              </p:nvSpPr>
              <p:spPr bwMode="auto">
                <a:xfrm>
                  <a:off x="1008" y="2743"/>
                  <a:ext cx="312"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Ogun</a:t>
                  </a:r>
                </a:p>
              </p:txBody>
            </p:sp>
            <p:sp>
              <p:nvSpPr>
                <p:cNvPr id="27" name="Text Box 618">
                  <a:extLst>
                    <a:ext uri="{FF2B5EF4-FFF2-40B4-BE49-F238E27FC236}">
                      <a16:creationId xmlns:a16="http://schemas.microsoft.com/office/drawing/2014/main" id="{53C1CDDB-0E19-37E8-2EE8-7366D05AD6B3}"/>
                    </a:ext>
                  </a:extLst>
                </p:cNvPr>
                <p:cNvSpPr txBox="1">
                  <a:spLocks noChangeAspect="1" noChangeArrowheads="1"/>
                </p:cNvSpPr>
                <p:nvPr/>
              </p:nvSpPr>
              <p:spPr bwMode="auto">
                <a:xfrm>
                  <a:off x="1191" y="2910"/>
                  <a:ext cx="321"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Lagos</a:t>
                  </a:r>
                </a:p>
              </p:txBody>
            </p:sp>
            <p:sp>
              <p:nvSpPr>
                <p:cNvPr id="28" name="Text Box 622">
                  <a:extLst>
                    <a:ext uri="{FF2B5EF4-FFF2-40B4-BE49-F238E27FC236}">
                      <a16:creationId xmlns:a16="http://schemas.microsoft.com/office/drawing/2014/main" id="{B2360AC8-6791-AD1A-6962-46E51136E667}"/>
                    </a:ext>
                  </a:extLst>
                </p:cNvPr>
                <p:cNvSpPr txBox="1">
                  <a:spLocks noChangeAspect="1" noChangeArrowheads="1"/>
                </p:cNvSpPr>
                <p:nvPr/>
              </p:nvSpPr>
              <p:spPr bwMode="auto">
                <a:xfrm flipH="1">
                  <a:off x="1358" y="2588"/>
                  <a:ext cx="520"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Osun</a:t>
                  </a:r>
                </a:p>
              </p:txBody>
            </p:sp>
            <p:sp>
              <p:nvSpPr>
                <p:cNvPr id="29" name="Text Box 623">
                  <a:extLst>
                    <a:ext uri="{FF2B5EF4-FFF2-40B4-BE49-F238E27FC236}">
                      <a16:creationId xmlns:a16="http://schemas.microsoft.com/office/drawing/2014/main" id="{ADF83EE7-C0F0-9990-FCDA-71DBC12D63E4}"/>
                    </a:ext>
                  </a:extLst>
                </p:cNvPr>
                <p:cNvSpPr txBox="1">
                  <a:spLocks noChangeAspect="1" noChangeArrowheads="1"/>
                </p:cNvSpPr>
                <p:nvPr/>
              </p:nvSpPr>
              <p:spPr bwMode="auto">
                <a:xfrm>
                  <a:off x="1639" y="2557"/>
                  <a:ext cx="398"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Ekiti</a:t>
                  </a:r>
                </a:p>
              </p:txBody>
            </p:sp>
            <p:sp>
              <p:nvSpPr>
                <p:cNvPr id="30" name="Text Box 624">
                  <a:extLst>
                    <a:ext uri="{FF2B5EF4-FFF2-40B4-BE49-F238E27FC236}">
                      <a16:creationId xmlns:a16="http://schemas.microsoft.com/office/drawing/2014/main" id="{3C45C179-18AA-0126-FC10-1CFECB6F03C4}"/>
                    </a:ext>
                  </a:extLst>
                </p:cNvPr>
                <p:cNvSpPr txBox="1">
                  <a:spLocks noChangeAspect="1" noChangeArrowheads="1"/>
                </p:cNvSpPr>
                <p:nvPr/>
              </p:nvSpPr>
              <p:spPr bwMode="auto">
                <a:xfrm>
                  <a:off x="2128" y="2524"/>
                  <a:ext cx="277"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Kogi</a:t>
                  </a:r>
                </a:p>
              </p:txBody>
            </p:sp>
            <p:sp>
              <p:nvSpPr>
                <p:cNvPr id="31" name="Text Box 625">
                  <a:extLst>
                    <a:ext uri="{FF2B5EF4-FFF2-40B4-BE49-F238E27FC236}">
                      <a16:creationId xmlns:a16="http://schemas.microsoft.com/office/drawing/2014/main" id="{873C3758-C0CD-1E69-1369-CE219785922A}"/>
                    </a:ext>
                  </a:extLst>
                </p:cNvPr>
                <p:cNvSpPr txBox="1">
                  <a:spLocks noChangeAspect="1" noChangeArrowheads="1"/>
                </p:cNvSpPr>
                <p:nvPr/>
              </p:nvSpPr>
              <p:spPr bwMode="auto">
                <a:xfrm>
                  <a:off x="2559" y="2275"/>
                  <a:ext cx="476" cy="16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Nasarawa</a:t>
                  </a:r>
                </a:p>
              </p:txBody>
            </p:sp>
            <p:sp>
              <p:nvSpPr>
                <p:cNvPr id="32" name="Text Box 626">
                  <a:extLst>
                    <a:ext uri="{FF2B5EF4-FFF2-40B4-BE49-F238E27FC236}">
                      <a16:creationId xmlns:a16="http://schemas.microsoft.com/office/drawing/2014/main" id="{F19F5E42-E72C-B554-2BB8-FC1E9A3D7FE7}"/>
                    </a:ext>
                  </a:extLst>
                </p:cNvPr>
                <p:cNvSpPr txBox="1">
                  <a:spLocks noChangeAspect="1" noChangeArrowheads="1"/>
                </p:cNvSpPr>
                <p:nvPr/>
              </p:nvSpPr>
              <p:spPr bwMode="auto">
                <a:xfrm>
                  <a:off x="2819" y="2674"/>
                  <a:ext cx="347"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Benue</a:t>
                  </a:r>
                </a:p>
              </p:txBody>
            </p:sp>
            <p:sp>
              <p:nvSpPr>
                <p:cNvPr id="33" name="Text Box 627">
                  <a:extLst>
                    <a:ext uri="{FF2B5EF4-FFF2-40B4-BE49-F238E27FC236}">
                      <a16:creationId xmlns:a16="http://schemas.microsoft.com/office/drawing/2014/main" id="{A06DFFD7-DAA1-23E6-3226-C54D330DA5B1}"/>
                    </a:ext>
                  </a:extLst>
                </p:cNvPr>
                <p:cNvSpPr txBox="1">
                  <a:spLocks noChangeAspect="1" noChangeArrowheads="1"/>
                </p:cNvSpPr>
                <p:nvPr/>
              </p:nvSpPr>
              <p:spPr bwMode="auto">
                <a:xfrm>
                  <a:off x="1653" y="2755"/>
                  <a:ext cx="317"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Ondo</a:t>
                  </a:r>
                </a:p>
              </p:txBody>
            </p:sp>
            <p:sp>
              <p:nvSpPr>
                <p:cNvPr id="34" name="Text Box 628">
                  <a:extLst>
                    <a:ext uri="{FF2B5EF4-FFF2-40B4-BE49-F238E27FC236}">
                      <a16:creationId xmlns:a16="http://schemas.microsoft.com/office/drawing/2014/main" id="{EFE36068-3C6D-AA63-7E12-E32AEC8CF3F4}"/>
                    </a:ext>
                  </a:extLst>
                </p:cNvPr>
                <p:cNvSpPr txBox="1">
                  <a:spLocks noChangeAspect="1" noChangeArrowheads="1"/>
                </p:cNvSpPr>
                <p:nvPr/>
              </p:nvSpPr>
              <p:spPr bwMode="auto">
                <a:xfrm>
                  <a:off x="1920" y="2905"/>
                  <a:ext cx="256"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Edo</a:t>
                  </a:r>
                </a:p>
              </p:txBody>
            </p:sp>
            <p:sp>
              <p:nvSpPr>
                <p:cNvPr id="35" name="Text Box 629">
                  <a:extLst>
                    <a:ext uri="{FF2B5EF4-FFF2-40B4-BE49-F238E27FC236}">
                      <a16:creationId xmlns:a16="http://schemas.microsoft.com/office/drawing/2014/main" id="{B27FF501-9F1B-6EEF-9B83-84DBCF67CBCB}"/>
                    </a:ext>
                  </a:extLst>
                </p:cNvPr>
                <p:cNvSpPr txBox="1">
                  <a:spLocks noChangeAspect="1" noChangeArrowheads="1"/>
                </p:cNvSpPr>
                <p:nvPr/>
              </p:nvSpPr>
              <p:spPr bwMode="auto">
                <a:xfrm>
                  <a:off x="1846" y="3251"/>
                  <a:ext cx="311"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Delta</a:t>
                  </a:r>
                </a:p>
              </p:txBody>
            </p:sp>
            <p:sp>
              <p:nvSpPr>
                <p:cNvPr id="36" name="Text Box 630">
                  <a:extLst>
                    <a:ext uri="{FF2B5EF4-FFF2-40B4-BE49-F238E27FC236}">
                      <a16:creationId xmlns:a16="http://schemas.microsoft.com/office/drawing/2014/main" id="{4A0BBBA0-1AB2-4D20-568C-E594ADDF7E0D}"/>
                    </a:ext>
                  </a:extLst>
                </p:cNvPr>
                <p:cNvSpPr txBox="1">
                  <a:spLocks noChangeAspect="1" noChangeArrowheads="1"/>
                </p:cNvSpPr>
                <p:nvPr/>
              </p:nvSpPr>
              <p:spPr bwMode="auto">
                <a:xfrm>
                  <a:off x="235" y="3294"/>
                  <a:ext cx="880" cy="165"/>
                </a:xfrm>
                <a:prstGeom prst="rect">
                  <a:avLst/>
                </a:prstGeom>
                <a:solidFill>
                  <a:srgbClr val="FF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effectLst/>
                      <a:uLnTx/>
                      <a:uFillTx/>
                      <a:latin typeface="Calibri"/>
                      <a:ea typeface="+mn-ea"/>
                      <a:cs typeface="+mn-cs"/>
                    </a:rPr>
                    <a:t>Anambra</a:t>
                  </a:r>
                </a:p>
              </p:txBody>
            </p:sp>
            <p:sp>
              <p:nvSpPr>
                <p:cNvPr id="37" name="Text Box 631">
                  <a:extLst>
                    <a:ext uri="{FF2B5EF4-FFF2-40B4-BE49-F238E27FC236}">
                      <a16:creationId xmlns:a16="http://schemas.microsoft.com/office/drawing/2014/main" id="{5007DA57-41A0-1E5F-E8B7-043EF9A6964D}"/>
                    </a:ext>
                  </a:extLst>
                </p:cNvPr>
                <p:cNvSpPr txBox="1">
                  <a:spLocks noChangeAspect="1" noChangeArrowheads="1"/>
                </p:cNvSpPr>
                <p:nvPr/>
              </p:nvSpPr>
              <p:spPr bwMode="auto">
                <a:xfrm>
                  <a:off x="1863" y="2869"/>
                  <a:ext cx="1411"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Enugu</a:t>
                  </a:r>
                </a:p>
              </p:txBody>
            </p:sp>
            <p:sp>
              <p:nvSpPr>
                <p:cNvPr id="38" name="Text Box 632">
                  <a:extLst>
                    <a:ext uri="{FF2B5EF4-FFF2-40B4-BE49-F238E27FC236}">
                      <a16:creationId xmlns:a16="http://schemas.microsoft.com/office/drawing/2014/main" id="{66442CBD-4012-E046-5D33-80BE9679F444}"/>
                    </a:ext>
                  </a:extLst>
                </p:cNvPr>
                <p:cNvSpPr txBox="1">
                  <a:spLocks noChangeAspect="1" noChangeArrowheads="1"/>
                </p:cNvSpPr>
                <p:nvPr/>
              </p:nvSpPr>
              <p:spPr bwMode="auto">
                <a:xfrm>
                  <a:off x="2605" y="2992"/>
                  <a:ext cx="363"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Ebonyi</a:t>
                  </a:r>
                </a:p>
              </p:txBody>
            </p:sp>
            <p:sp>
              <p:nvSpPr>
                <p:cNvPr id="39" name="Text Box 633">
                  <a:extLst>
                    <a:ext uri="{FF2B5EF4-FFF2-40B4-BE49-F238E27FC236}">
                      <a16:creationId xmlns:a16="http://schemas.microsoft.com/office/drawing/2014/main" id="{66C9EAEE-4E4D-F0D7-A538-6E450EFFFB8A}"/>
                    </a:ext>
                  </a:extLst>
                </p:cNvPr>
                <p:cNvSpPr txBox="1">
                  <a:spLocks noChangeAspect="1" noChangeArrowheads="1"/>
                </p:cNvSpPr>
                <p:nvPr/>
              </p:nvSpPr>
              <p:spPr bwMode="auto">
                <a:xfrm>
                  <a:off x="2747" y="3162"/>
                  <a:ext cx="330" cy="268"/>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Cross </a:t>
                  </a:r>
                  <a:br>
                    <a:rPr kumimoji="0" lang="de-DE" sz="1000" b="1" i="0" u="none" strike="noStrike" kern="1200" cap="none" spc="0" normalizeH="0" baseline="0" noProof="1">
                      <a:ln>
                        <a:noFill/>
                      </a:ln>
                      <a:solidFill>
                        <a:prstClr val="black"/>
                      </a:solidFill>
                      <a:effectLst/>
                      <a:uLnTx/>
                      <a:uFillTx/>
                      <a:latin typeface="Calibri"/>
                      <a:ea typeface="+mn-ea"/>
                      <a:cs typeface="+mn-cs"/>
                    </a:rPr>
                  </a:br>
                  <a:r>
                    <a:rPr kumimoji="0" lang="de-DE" sz="1000" b="1" i="0" u="none" strike="noStrike" kern="1200" cap="none" spc="0" normalizeH="0" baseline="0" noProof="1">
                      <a:ln>
                        <a:noFill/>
                      </a:ln>
                      <a:solidFill>
                        <a:prstClr val="black"/>
                      </a:solidFill>
                      <a:effectLst/>
                      <a:uLnTx/>
                      <a:uFillTx/>
                      <a:latin typeface="Calibri"/>
                      <a:ea typeface="+mn-ea"/>
                      <a:cs typeface="+mn-cs"/>
                    </a:rPr>
                    <a:t>River</a:t>
                  </a:r>
                </a:p>
              </p:txBody>
            </p:sp>
            <p:sp>
              <p:nvSpPr>
                <p:cNvPr id="40" name="Text Box 635">
                  <a:extLst>
                    <a:ext uri="{FF2B5EF4-FFF2-40B4-BE49-F238E27FC236}">
                      <a16:creationId xmlns:a16="http://schemas.microsoft.com/office/drawing/2014/main" id="{A2EBE117-A272-FC7E-5F01-85568DE50A7D}"/>
                    </a:ext>
                  </a:extLst>
                </p:cNvPr>
                <p:cNvSpPr txBox="1">
                  <a:spLocks noChangeAspect="1" noChangeArrowheads="1"/>
                </p:cNvSpPr>
                <p:nvPr/>
              </p:nvSpPr>
              <p:spPr bwMode="auto">
                <a:xfrm>
                  <a:off x="1845" y="3469"/>
                  <a:ext cx="469"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Bayelsa</a:t>
                  </a:r>
                </a:p>
              </p:txBody>
            </p:sp>
            <p:sp>
              <p:nvSpPr>
                <p:cNvPr id="41" name="Text Box 636">
                  <a:extLst>
                    <a:ext uri="{FF2B5EF4-FFF2-40B4-BE49-F238E27FC236}">
                      <a16:creationId xmlns:a16="http://schemas.microsoft.com/office/drawing/2014/main" id="{DC7D5DD7-ABA0-557A-C52A-831FA0210426}"/>
                    </a:ext>
                  </a:extLst>
                </p:cNvPr>
                <p:cNvSpPr txBox="1">
                  <a:spLocks noChangeAspect="1" noChangeArrowheads="1"/>
                </p:cNvSpPr>
                <p:nvPr/>
              </p:nvSpPr>
              <p:spPr bwMode="auto">
                <a:xfrm rot="10800000" flipV="1">
                  <a:off x="1703" y="3263"/>
                  <a:ext cx="1447"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Imo</a:t>
                  </a:r>
                </a:p>
              </p:txBody>
            </p:sp>
            <p:sp>
              <p:nvSpPr>
                <p:cNvPr id="43" name="Text Box 638">
                  <a:extLst>
                    <a:ext uri="{FF2B5EF4-FFF2-40B4-BE49-F238E27FC236}">
                      <a16:creationId xmlns:a16="http://schemas.microsoft.com/office/drawing/2014/main" id="{616CEED3-154D-8D79-B46B-F739A08E317F}"/>
                    </a:ext>
                  </a:extLst>
                </p:cNvPr>
                <p:cNvSpPr txBox="1">
                  <a:spLocks noChangeAspect="1" noChangeArrowheads="1"/>
                </p:cNvSpPr>
                <p:nvPr/>
              </p:nvSpPr>
              <p:spPr bwMode="auto">
                <a:xfrm>
                  <a:off x="2223" y="3515"/>
                  <a:ext cx="339"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Rivers</a:t>
                  </a:r>
                </a:p>
              </p:txBody>
            </p:sp>
            <p:sp>
              <p:nvSpPr>
                <p:cNvPr id="44" name="Text Box 639">
                  <a:extLst>
                    <a:ext uri="{FF2B5EF4-FFF2-40B4-BE49-F238E27FC236}">
                      <a16:creationId xmlns:a16="http://schemas.microsoft.com/office/drawing/2014/main" id="{22667E6C-CC90-CF90-D70D-62A2B0317082}"/>
                    </a:ext>
                  </a:extLst>
                </p:cNvPr>
                <p:cNvSpPr txBox="1">
                  <a:spLocks noChangeAspect="1" noChangeArrowheads="1"/>
                </p:cNvSpPr>
                <p:nvPr/>
              </p:nvSpPr>
              <p:spPr bwMode="auto">
                <a:xfrm>
                  <a:off x="3130" y="1632"/>
                  <a:ext cx="360"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Bauchi</a:t>
                  </a:r>
                </a:p>
              </p:txBody>
            </p:sp>
            <p:sp>
              <p:nvSpPr>
                <p:cNvPr id="45" name="Text Box 640">
                  <a:extLst>
                    <a:ext uri="{FF2B5EF4-FFF2-40B4-BE49-F238E27FC236}">
                      <a16:creationId xmlns:a16="http://schemas.microsoft.com/office/drawing/2014/main" id="{88871E98-C0C2-F7F4-6A7C-ABCAD32C046D}"/>
                    </a:ext>
                  </a:extLst>
                </p:cNvPr>
                <p:cNvSpPr txBox="1">
                  <a:spLocks noChangeAspect="1" noChangeArrowheads="1"/>
                </p:cNvSpPr>
                <p:nvPr/>
              </p:nvSpPr>
              <p:spPr bwMode="auto">
                <a:xfrm>
                  <a:off x="3770" y="1009"/>
                  <a:ext cx="301"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Yobe</a:t>
                  </a:r>
                </a:p>
              </p:txBody>
            </p:sp>
            <p:sp>
              <p:nvSpPr>
                <p:cNvPr id="46" name="Text Box 641">
                  <a:extLst>
                    <a:ext uri="{FF2B5EF4-FFF2-40B4-BE49-F238E27FC236}">
                      <a16:creationId xmlns:a16="http://schemas.microsoft.com/office/drawing/2014/main" id="{087C352B-88E4-1182-48A4-FE45F27DD155}"/>
                    </a:ext>
                  </a:extLst>
                </p:cNvPr>
                <p:cNvSpPr txBox="1">
                  <a:spLocks noChangeAspect="1" noChangeArrowheads="1"/>
                </p:cNvSpPr>
                <p:nvPr/>
              </p:nvSpPr>
              <p:spPr bwMode="auto">
                <a:xfrm>
                  <a:off x="3616" y="1653"/>
                  <a:ext cx="380"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Gombe</a:t>
                  </a:r>
                </a:p>
              </p:txBody>
            </p:sp>
            <p:sp>
              <p:nvSpPr>
                <p:cNvPr id="47" name="Text Box 642">
                  <a:extLst>
                    <a:ext uri="{FF2B5EF4-FFF2-40B4-BE49-F238E27FC236}">
                      <a16:creationId xmlns:a16="http://schemas.microsoft.com/office/drawing/2014/main" id="{BD3A5811-1345-F171-8031-5346D82BAE85}"/>
                    </a:ext>
                  </a:extLst>
                </p:cNvPr>
                <p:cNvSpPr txBox="1">
                  <a:spLocks noChangeAspect="1" noChangeArrowheads="1"/>
                </p:cNvSpPr>
                <p:nvPr/>
              </p:nvSpPr>
              <p:spPr bwMode="auto">
                <a:xfrm>
                  <a:off x="3921" y="1960"/>
                  <a:ext cx="477"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Adamawa</a:t>
                  </a:r>
                </a:p>
              </p:txBody>
            </p:sp>
            <p:sp>
              <p:nvSpPr>
                <p:cNvPr id="48" name="Text Box 643">
                  <a:extLst>
                    <a:ext uri="{FF2B5EF4-FFF2-40B4-BE49-F238E27FC236}">
                      <a16:creationId xmlns:a16="http://schemas.microsoft.com/office/drawing/2014/main" id="{0AFDF1C4-0958-49A9-A9FD-4230FB7C71F0}"/>
                    </a:ext>
                  </a:extLst>
                </p:cNvPr>
                <p:cNvSpPr txBox="1">
                  <a:spLocks noChangeAspect="1" noChangeArrowheads="1"/>
                </p:cNvSpPr>
                <p:nvPr/>
              </p:nvSpPr>
              <p:spPr bwMode="auto">
                <a:xfrm>
                  <a:off x="4339" y="1140"/>
                  <a:ext cx="338"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Borno</a:t>
                  </a:r>
                </a:p>
              </p:txBody>
            </p:sp>
            <p:sp>
              <p:nvSpPr>
                <p:cNvPr id="49" name="Text Box 644">
                  <a:extLst>
                    <a:ext uri="{FF2B5EF4-FFF2-40B4-BE49-F238E27FC236}">
                      <a16:creationId xmlns:a16="http://schemas.microsoft.com/office/drawing/2014/main" id="{7A77ABC8-D0B2-66A0-3720-4D15EE46FB84}"/>
                    </a:ext>
                  </a:extLst>
                </p:cNvPr>
                <p:cNvSpPr txBox="1">
                  <a:spLocks noChangeAspect="1" noChangeArrowheads="1"/>
                </p:cNvSpPr>
                <p:nvPr/>
              </p:nvSpPr>
              <p:spPr bwMode="auto">
                <a:xfrm>
                  <a:off x="3106" y="2056"/>
                  <a:ext cx="391"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Plateau</a:t>
                  </a:r>
                </a:p>
              </p:txBody>
            </p:sp>
            <p:sp>
              <p:nvSpPr>
                <p:cNvPr id="50" name="Text Box 645">
                  <a:extLst>
                    <a:ext uri="{FF2B5EF4-FFF2-40B4-BE49-F238E27FC236}">
                      <a16:creationId xmlns:a16="http://schemas.microsoft.com/office/drawing/2014/main" id="{2F6679A9-0200-89A5-EF20-8C85A62B0E26}"/>
                    </a:ext>
                  </a:extLst>
                </p:cNvPr>
                <p:cNvSpPr txBox="1">
                  <a:spLocks noChangeAspect="1" noChangeArrowheads="1"/>
                </p:cNvSpPr>
                <p:nvPr/>
              </p:nvSpPr>
              <p:spPr bwMode="auto">
                <a:xfrm>
                  <a:off x="3399" y="2428"/>
                  <a:ext cx="365"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Taraba</a:t>
                  </a:r>
                </a:p>
              </p:txBody>
            </p:sp>
            <p:sp>
              <p:nvSpPr>
                <p:cNvPr id="51" name="Text Box 646">
                  <a:extLst>
                    <a:ext uri="{FF2B5EF4-FFF2-40B4-BE49-F238E27FC236}">
                      <a16:creationId xmlns:a16="http://schemas.microsoft.com/office/drawing/2014/main" id="{CA37AB05-7EB4-463B-8720-734F8BA551C6}"/>
                    </a:ext>
                  </a:extLst>
                </p:cNvPr>
                <p:cNvSpPr txBox="1">
                  <a:spLocks noChangeAspect="1" noChangeArrowheads="1"/>
                </p:cNvSpPr>
                <p:nvPr/>
              </p:nvSpPr>
              <p:spPr bwMode="auto">
                <a:xfrm>
                  <a:off x="2402" y="864"/>
                  <a:ext cx="383"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Katsina</a:t>
                  </a:r>
                </a:p>
              </p:txBody>
            </p:sp>
            <p:sp>
              <p:nvSpPr>
                <p:cNvPr id="52" name="Text Box 647">
                  <a:extLst>
                    <a:ext uri="{FF2B5EF4-FFF2-40B4-BE49-F238E27FC236}">
                      <a16:creationId xmlns:a16="http://schemas.microsoft.com/office/drawing/2014/main" id="{F30E60F9-2C2A-69E4-5441-56C509D67692}"/>
                    </a:ext>
                  </a:extLst>
                </p:cNvPr>
                <p:cNvSpPr txBox="1">
                  <a:spLocks noChangeAspect="1" noChangeArrowheads="1"/>
                </p:cNvSpPr>
                <p:nvPr/>
              </p:nvSpPr>
              <p:spPr bwMode="auto">
                <a:xfrm>
                  <a:off x="3084" y="962"/>
                  <a:ext cx="359"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Jigawa</a:t>
                  </a:r>
                </a:p>
              </p:txBody>
            </p:sp>
            <p:sp>
              <p:nvSpPr>
                <p:cNvPr id="53" name="Text Box 648">
                  <a:extLst>
                    <a:ext uri="{FF2B5EF4-FFF2-40B4-BE49-F238E27FC236}">
                      <a16:creationId xmlns:a16="http://schemas.microsoft.com/office/drawing/2014/main" id="{931D2317-0D7D-80B1-9433-A7975D954EF5}"/>
                    </a:ext>
                  </a:extLst>
                </p:cNvPr>
                <p:cNvSpPr txBox="1">
                  <a:spLocks noChangeAspect="1" noChangeArrowheads="1"/>
                </p:cNvSpPr>
                <p:nvPr/>
              </p:nvSpPr>
              <p:spPr bwMode="auto">
                <a:xfrm>
                  <a:off x="1665" y="702"/>
                  <a:ext cx="371"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Sokoto</a:t>
                  </a:r>
                </a:p>
              </p:txBody>
            </p:sp>
            <p:sp>
              <p:nvSpPr>
                <p:cNvPr id="54" name="Text Box 649">
                  <a:extLst>
                    <a:ext uri="{FF2B5EF4-FFF2-40B4-BE49-F238E27FC236}">
                      <a16:creationId xmlns:a16="http://schemas.microsoft.com/office/drawing/2014/main" id="{8D762C4D-6277-CF6A-F4BD-DF6D5F40A718}"/>
                    </a:ext>
                  </a:extLst>
                </p:cNvPr>
                <p:cNvSpPr txBox="1">
                  <a:spLocks noChangeAspect="1" noChangeArrowheads="1"/>
                </p:cNvSpPr>
                <p:nvPr/>
              </p:nvSpPr>
              <p:spPr bwMode="auto">
                <a:xfrm>
                  <a:off x="1285" y="1290"/>
                  <a:ext cx="325"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Kebbi</a:t>
                  </a:r>
                </a:p>
              </p:txBody>
            </p:sp>
            <p:sp>
              <p:nvSpPr>
                <p:cNvPr id="55" name="Text Box 650">
                  <a:extLst>
                    <a:ext uri="{FF2B5EF4-FFF2-40B4-BE49-F238E27FC236}">
                      <a16:creationId xmlns:a16="http://schemas.microsoft.com/office/drawing/2014/main" id="{F9F94A90-F5BD-795E-EDE5-16E355888A1F}"/>
                    </a:ext>
                  </a:extLst>
                </p:cNvPr>
                <p:cNvSpPr txBox="1">
                  <a:spLocks noChangeAspect="1" noChangeArrowheads="1"/>
                </p:cNvSpPr>
                <p:nvPr/>
              </p:nvSpPr>
              <p:spPr bwMode="auto">
                <a:xfrm>
                  <a:off x="2303" y="2151"/>
                  <a:ext cx="328" cy="165"/>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Abuja</a:t>
                  </a:r>
                </a:p>
              </p:txBody>
            </p:sp>
            <p:sp>
              <p:nvSpPr>
                <p:cNvPr id="56" name="Text Box 634">
                  <a:extLst>
                    <a:ext uri="{FF2B5EF4-FFF2-40B4-BE49-F238E27FC236}">
                      <a16:creationId xmlns:a16="http://schemas.microsoft.com/office/drawing/2014/main" id="{707C626B-5ABC-639D-A461-8A16FA67A827}"/>
                    </a:ext>
                  </a:extLst>
                </p:cNvPr>
                <p:cNvSpPr txBox="1">
                  <a:spLocks noChangeAspect="1" noChangeArrowheads="1"/>
                </p:cNvSpPr>
                <p:nvPr/>
              </p:nvSpPr>
              <p:spPr bwMode="auto">
                <a:xfrm>
                  <a:off x="2467" y="3345"/>
                  <a:ext cx="480" cy="268"/>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solidFill>
                        <a:prstClr val="black"/>
                      </a:solidFill>
                      <a:effectLst/>
                      <a:uLnTx/>
                      <a:uFillTx/>
                      <a:latin typeface="Calibri"/>
                      <a:ea typeface="+mn-ea"/>
                      <a:cs typeface="+mn-cs"/>
                    </a:rPr>
                    <a:t>Akwa</a:t>
                  </a:r>
                  <a:br>
                    <a:rPr kumimoji="0" lang="de-DE" sz="1000" b="1" i="0" u="none" strike="noStrike" kern="1200" cap="none" spc="0" normalizeH="0" baseline="0" noProof="1">
                      <a:ln>
                        <a:noFill/>
                      </a:ln>
                      <a:solidFill>
                        <a:prstClr val="black"/>
                      </a:solidFill>
                      <a:effectLst/>
                      <a:uLnTx/>
                      <a:uFillTx/>
                      <a:latin typeface="Calibri"/>
                      <a:ea typeface="+mn-ea"/>
                      <a:cs typeface="+mn-cs"/>
                    </a:rPr>
                  </a:br>
                  <a:r>
                    <a:rPr kumimoji="0" lang="de-DE" sz="1000" b="1" i="0" u="none" strike="noStrike" kern="1200" cap="none" spc="0" normalizeH="0" baseline="0" noProof="1">
                      <a:ln>
                        <a:noFill/>
                      </a:ln>
                      <a:solidFill>
                        <a:prstClr val="black"/>
                      </a:solidFill>
                      <a:effectLst/>
                      <a:uLnTx/>
                      <a:uFillTx/>
                      <a:latin typeface="Calibri"/>
                      <a:ea typeface="+mn-ea"/>
                      <a:cs typeface="+mn-cs"/>
                    </a:rPr>
                    <a:t> Ibom</a:t>
                  </a:r>
                </a:p>
              </p:txBody>
            </p:sp>
          </p:grpSp>
        </p:grpSp>
        <p:sp>
          <p:nvSpPr>
            <p:cNvPr id="97" name="TextBox 96">
              <a:extLst>
                <a:ext uri="{FF2B5EF4-FFF2-40B4-BE49-F238E27FC236}">
                  <a16:creationId xmlns:a16="http://schemas.microsoft.com/office/drawing/2014/main" id="{A8B2657D-5464-4813-8F86-F5BFF6B7F365}"/>
                </a:ext>
              </a:extLst>
            </p:cNvPr>
            <p:cNvSpPr txBox="1"/>
            <p:nvPr/>
          </p:nvSpPr>
          <p:spPr>
            <a:xfrm>
              <a:off x="9404994" y="3875679"/>
              <a:ext cx="10188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Times New Roman" panose="02020603050405020304" pitchFamily="18" charset="0"/>
                </a:rPr>
                <a:t>Key</a:t>
              </a:r>
            </a:p>
          </p:txBody>
        </p:sp>
        <p:cxnSp>
          <p:nvCxnSpPr>
            <p:cNvPr id="4" name="Straight Arrow Connector 3">
              <a:extLst>
                <a:ext uri="{FF2B5EF4-FFF2-40B4-BE49-F238E27FC236}">
                  <a16:creationId xmlns:a16="http://schemas.microsoft.com/office/drawing/2014/main" id="{AC6F9076-BCAD-DCE7-DA14-6452D16F0A21}"/>
                </a:ext>
              </a:extLst>
            </p:cNvPr>
            <p:cNvCxnSpPr>
              <a:cxnSpLocks/>
              <a:endCxn id="78" idx="32"/>
            </p:cNvCxnSpPr>
            <p:nvPr/>
          </p:nvCxnSpPr>
          <p:spPr>
            <a:xfrm flipV="1">
              <a:off x="3316075" y="5274012"/>
              <a:ext cx="1823753" cy="3326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B2B58335-364F-0587-F443-E35F34230D14}"/>
                </a:ext>
              </a:extLst>
            </p:cNvPr>
            <p:cNvSpPr txBox="1"/>
            <p:nvPr/>
          </p:nvSpPr>
          <p:spPr>
            <a:xfrm>
              <a:off x="9715101" y="4290086"/>
              <a:ext cx="857438" cy="246221"/>
            </a:xfrm>
            <a:prstGeom prst="rect">
              <a:avLst/>
            </a:prstGeom>
            <a:solidFill>
              <a:schemeClr val="accent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Negligible</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TextBox 98">
              <a:extLst>
                <a:ext uri="{FF2B5EF4-FFF2-40B4-BE49-F238E27FC236}">
                  <a16:creationId xmlns:a16="http://schemas.microsoft.com/office/drawing/2014/main" id="{BC5C8D3F-D1A8-BF01-58E2-FA0EFF6EE011}"/>
                </a:ext>
              </a:extLst>
            </p:cNvPr>
            <p:cNvSpPr txBox="1"/>
            <p:nvPr/>
          </p:nvSpPr>
          <p:spPr>
            <a:xfrm>
              <a:off x="9715101" y="4591391"/>
              <a:ext cx="857438" cy="246221"/>
            </a:xfrm>
            <a:prstGeom prst="rect">
              <a:avLst/>
            </a:prstGeom>
            <a:solidFill>
              <a:srgbClr val="FFFF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Calibri" panose="020F0502020204030204"/>
                  <a:ea typeface="+mn-ea"/>
                  <a:cs typeface="+mn-cs"/>
                </a:rPr>
                <a:t>Low</a:t>
              </a:r>
              <a:endPar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TextBox 99">
              <a:extLst>
                <a:ext uri="{FF2B5EF4-FFF2-40B4-BE49-F238E27FC236}">
                  <a16:creationId xmlns:a16="http://schemas.microsoft.com/office/drawing/2014/main" id="{D11FCC84-14E7-A9EC-5C23-087E8752C4C5}"/>
                </a:ext>
              </a:extLst>
            </p:cNvPr>
            <p:cNvSpPr txBox="1"/>
            <p:nvPr/>
          </p:nvSpPr>
          <p:spPr>
            <a:xfrm>
              <a:off x="9715101" y="4892696"/>
              <a:ext cx="857438" cy="246221"/>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rPr>
                <a:t>Medium</a:t>
              </a:r>
              <a:endPar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TextBox 100">
              <a:extLst>
                <a:ext uri="{FF2B5EF4-FFF2-40B4-BE49-F238E27FC236}">
                  <a16:creationId xmlns:a16="http://schemas.microsoft.com/office/drawing/2014/main" id="{6EBEFC56-E540-C4A7-2B20-05C1CF63F01D}"/>
                </a:ext>
              </a:extLst>
            </p:cNvPr>
            <p:cNvSpPr txBox="1"/>
            <p:nvPr/>
          </p:nvSpPr>
          <p:spPr>
            <a:xfrm>
              <a:off x="9717292" y="5194001"/>
              <a:ext cx="853056" cy="246221"/>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rPr>
                <a:t>High</a:t>
              </a:r>
              <a:endPar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23D9CE41-FB76-92CF-CF27-B67A93184353}"/>
                </a:ext>
              </a:extLst>
            </p:cNvPr>
            <p:cNvSpPr txBox="1"/>
            <p:nvPr/>
          </p:nvSpPr>
          <p:spPr>
            <a:xfrm>
              <a:off x="9717293" y="5495305"/>
              <a:ext cx="853054" cy="246221"/>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rPr>
                <a:t>Extreme</a:t>
              </a:r>
              <a:endPar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Text Box 630">
              <a:extLst>
                <a:ext uri="{FF2B5EF4-FFF2-40B4-BE49-F238E27FC236}">
                  <a16:creationId xmlns:a16="http://schemas.microsoft.com/office/drawing/2014/main" id="{E1B35E2A-941D-9E11-0266-D2AEB133E7AA}"/>
                </a:ext>
              </a:extLst>
            </p:cNvPr>
            <p:cNvSpPr txBox="1">
              <a:spLocks noChangeAspect="1" noChangeArrowheads="1"/>
            </p:cNvSpPr>
            <p:nvPr/>
          </p:nvSpPr>
          <p:spPr bwMode="auto">
            <a:xfrm>
              <a:off x="1987541" y="6028924"/>
              <a:ext cx="1325517" cy="246003"/>
            </a:xfrm>
            <a:prstGeom prst="rect">
              <a:avLst/>
            </a:prstGeom>
            <a:solidFill>
              <a:schemeClr val="accent2"/>
            </a:solidFill>
            <a:ln>
              <a:noFill/>
            </a:ln>
            <a:effectLst/>
          </p:spPr>
          <p:txBody>
            <a:bodyPr wrap="square"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DE" sz="1000" b="1" i="0" u="none" strike="noStrike" kern="1200" cap="none" spc="0" normalizeH="0" baseline="0" noProof="1">
                  <a:ln>
                    <a:noFill/>
                  </a:ln>
                  <a:effectLst/>
                  <a:uLnTx/>
                  <a:uFillTx/>
                  <a:latin typeface="Calibri"/>
                  <a:ea typeface="+mn-ea"/>
                  <a:cs typeface="+mn-cs"/>
                </a:rPr>
                <a:t>Abia</a:t>
              </a:r>
            </a:p>
          </p:txBody>
        </p:sp>
        <p:cxnSp>
          <p:nvCxnSpPr>
            <p:cNvPr id="103" name="Straight Arrow Connector 102">
              <a:extLst>
                <a:ext uri="{FF2B5EF4-FFF2-40B4-BE49-F238E27FC236}">
                  <a16:creationId xmlns:a16="http://schemas.microsoft.com/office/drawing/2014/main" id="{790895A3-6EEB-6169-C9FE-8E6F79895604}"/>
                </a:ext>
              </a:extLst>
            </p:cNvPr>
            <p:cNvCxnSpPr>
              <a:cxnSpLocks/>
              <a:stCxn id="95" idx="3"/>
              <a:endCxn id="65" idx="9"/>
            </p:cNvCxnSpPr>
            <p:nvPr/>
          </p:nvCxnSpPr>
          <p:spPr>
            <a:xfrm flipV="1">
              <a:off x="3313058" y="5384166"/>
              <a:ext cx="2317786" cy="76776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79677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88F5629-2721-4180-87F2-4D51A0F79AC2}"/>
              </a:ext>
            </a:extLst>
          </p:cNvPr>
          <p:cNvSpPr/>
          <p:nvPr/>
        </p:nvSpPr>
        <p:spPr>
          <a:xfrm>
            <a:off x="219741" y="5459667"/>
            <a:ext cx="11752519" cy="984216"/>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Gill Sans MT"/>
            </a:endParaRPr>
          </a:p>
        </p:txBody>
      </p:sp>
      <p:sp>
        <p:nvSpPr>
          <p:cNvPr id="4" name="Rectangle 3" descr="© INSCALE GmbH, 05.05.2010 http://www.presentationload.com/">
            <a:extLst>
              <a:ext uri="{FF2B5EF4-FFF2-40B4-BE49-F238E27FC236}">
                <a16:creationId xmlns:a16="http://schemas.microsoft.com/office/drawing/2014/main" id="{A8F486E5-D6C6-4015-90A3-90563014757D}"/>
              </a:ext>
            </a:extLst>
          </p:cNvPr>
          <p:cNvSpPr txBox="1">
            <a:spLocks noGrp="1" noChangeArrowheads="1"/>
          </p:cNvSpPr>
          <p:nvPr>
            <p:ph type="title"/>
            <p:custDataLst>
              <p:tags r:id="rId1"/>
            </p:custDataLst>
          </p:nvPr>
        </p:nvSpPr>
        <p:spPr bwMode="gray">
          <a:xfrm>
            <a:off x="1524000" y="110030"/>
            <a:ext cx="9144000" cy="422630"/>
          </a:xfrm>
          <a:prstGeom prst="rect">
            <a:avLst/>
          </a:prstGeom>
          <a:noFill/>
          <a:ln>
            <a:noFill/>
          </a:ln>
        </p:spPr>
        <p:txBody>
          <a:bodyPr vert="horz" lIns="91440" tIns="45720" rIns="91440" bIns="45720" rtlCol="0" anchor="b" anchorCtr="0">
            <a:noAutofit/>
          </a:bodyPr>
          <a:lstStyle>
            <a:lvl1pPr algn="l" defTabSz="457200" rtl="0" eaLnBrk="1" latinLnBrk="0" hangingPunct="1">
              <a:spcBef>
                <a:spcPct val="0"/>
              </a:spcBef>
              <a:buNone/>
              <a:defRPr sz="2800" b="0" i="0" kern="1200">
                <a:solidFill>
                  <a:schemeClr val="tx1"/>
                </a:solidFill>
                <a:latin typeface="Calibri Light" panose="020F0302020204030204" pitchFamily="34" charset="0"/>
                <a:ea typeface="+mj-ea"/>
                <a:cs typeface="Calibri Light" panose="020F0302020204030204" pitchFamily="34" charset="0"/>
              </a:defRPr>
            </a:lvl1pPr>
          </a:lstStyle>
          <a:p>
            <a:pPr algn="ctr">
              <a:spcBef>
                <a:spcPts val="600"/>
              </a:spcBef>
              <a:spcAft>
                <a:spcPts val="600"/>
              </a:spcAft>
            </a:pPr>
            <a:r>
              <a:rPr lang="de-DE" sz="2400" noProof="1">
                <a:solidFill>
                  <a:schemeClr val="bg1"/>
                </a:solidFill>
                <a:effectLst>
                  <a:outerShdw blurRad="38100" dist="38100" dir="2700000" algn="tl">
                    <a:srgbClr val="000000">
                      <a:alpha val="43137"/>
                    </a:srgbClr>
                  </a:outerShdw>
                </a:effectLst>
                <a:latin typeface="+mn-lt"/>
              </a:rPr>
              <a:t>Nationwide Trend Analysis: Armed Conflict</a:t>
            </a:r>
            <a:endParaRPr lang="de-DE" sz="2400">
              <a:solidFill>
                <a:schemeClr val="bg1"/>
              </a:solidFill>
              <a:effectLst>
                <a:outerShdw blurRad="38100" dist="38100" dir="2700000" algn="tl">
                  <a:srgbClr val="000000">
                    <a:alpha val="43137"/>
                  </a:srgbClr>
                </a:outerShdw>
              </a:effectLst>
              <a:latin typeface="+mn-lt"/>
            </a:endParaRPr>
          </a:p>
        </p:txBody>
      </p:sp>
      <p:sp>
        <p:nvSpPr>
          <p:cNvPr id="6" name="Text Placeholder 2">
            <a:extLst>
              <a:ext uri="{FF2B5EF4-FFF2-40B4-BE49-F238E27FC236}">
                <a16:creationId xmlns:a16="http://schemas.microsoft.com/office/drawing/2014/main" id="{0493AB1A-7EFD-4891-AD93-166B70A60DED}"/>
              </a:ext>
            </a:extLst>
          </p:cNvPr>
          <p:cNvSpPr>
            <a:spLocks noGrp="1"/>
          </p:cNvSpPr>
          <p:nvPr>
            <p:ph type="body" sz="quarter" idx="13"/>
          </p:nvPr>
        </p:nvSpPr>
        <p:spPr>
          <a:xfrm>
            <a:off x="308344" y="5434918"/>
            <a:ext cx="11663917" cy="984217"/>
          </a:xfrm>
        </p:spPr>
        <p:txBody>
          <a:bodyPr/>
          <a:lstStyle/>
          <a:p>
            <a:r>
              <a:rPr lang="en-GB" sz="1400" dirty="0">
                <a:solidFill>
                  <a:schemeClr val="tx1">
                    <a:lumMod val="65000"/>
                    <a:lumOff val="35000"/>
                  </a:schemeClr>
                </a:solidFill>
                <a:latin typeface="+mn-lt"/>
              </a:rPr>
              <a:t>Armed attacks remain a prevalent security threat, particularly in the northern regions, and are mostly attributed to bandits, insurgents, and the herder/farmer conflict. The highest fatalities per state reported </a:t>
            </a:r>
            <a:r>
              <a:rPr lang="en-US" sz="1400" dirty="0">
                <a:solidFill>
                  <a:schemeClr val="tx1">
                    <a:lumMod val="65000"/>
                    <a:lumOff val="35000"/>
                  </a:schemeClr>
                </a:solidFill>
                <a:latin typeface="+mn-lt"/>
              </a:rPr>
              <a:t>this month were reported in Borno, Plateau, and Katsina States. </a:t>
            </a:r>
            <a:r>
              <a:rPr lang="en-GB" sz="1400" dirty="0">
                <a:solidFill>
                  <a:schemeClr val="tx1">
                    <a:lumMod val="65000"/>
                    <a:lumOff val="35000"/>
                  </a:schemeClr>
                </a:solidFill>
                <a:latin typeface="+mn-lt"/>
              </a:rPr>
              <a:t>A resurgence of localized clashes which began in Dec23 and intensified in Jan24 led to high fatalities in Plateau State. Despite a 24-hour curfew imposed by the State Government, the violence persisted leading to loss of lives and vandalization of properties. IPs suspended operations in the affected LGAs. </a:t>
            </a:r>
            <a:endParaRPr lang="en-NG" sz="1400" dirty="0">
              <a:solidFill>
                <a:schemeClr val="tx1">
                  <a:lumMod val="65000"/>
                  <a:lumOff val="35000"/>
                </a:schemeClr>
              </a:solidFill>
              <a:latin typeface="+mn-lt"/>
            </a:endParaRPr>
          </a:p>
        </p:txBody>
      </p:sp>
      <p:pic>
        <p:nvPicPr>
          <p:cNvPr id="3" name="Picture 2">
            <a:extLst>
              <a:ext uri="{FF2B5EF4-FFF2-40B4-BE49-F238E27FC236}">
                <a16:creationId xmlns:a16="http://schemas.microsoft.com/office/drawing/2014/main" id="{5184ED7E-7CF5-47CD-208F-3F9A26937AB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360882" y="791164"/>
            <a:ext cx="9569471" cy="4508924"/>
          </a:xfrm>
          <a:prstGeom prst="rect">
            <a:avLst/>
          </a:prstGeom>
        </p:spPr>
      </p:pic>
    </p:spTree>
    <p:extLst>
      <p:ext uri="{BB962C8B-B14F-4D97-AF65-F5344CB8AC3E}">
        <p14:creationId xmlns:p14="http://schemas.microsoft.com/office/powerpoint/2010/main" val="337497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91186D6-0689-4EB2-9267-884A2A754707}"/>
              </a:ext>
            </a:extLst>
          </p:cNvPr>
          <p:cNvSpPr/>
          <p:nvPr/>
        </p:nvSpPr>
        <p:spPr>
          <a:xfrm>
            <a:off x="157876" y="5224680"/>
            <a:ext cx="11876249" cy="1316513"/>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Gill Sans MT"/>
            </a:endParaRPr>
          </a:p>
        </p:txBody>
      </p:sp>
      <p:sp>
        <p:nvSpPr>
          <p:cNvPr id="4" name="Rectangle 3" descr="© INSCALE GmbH, 05.05.2010 http://www.presentationload.com/">
            <a:extLst>
              <a:ext uri="{FF2B5EF4-FFF2-40B4-BE49-F238E27FC236}">
                <a16:creationId xmlns:a16="http://schemas.microsoft.com/office/drawing/2014/main" id="{A8F486E5-D6C6-4015-90A3-90563014757D}"/>
              </a:ext>
            </a:extLst>
          </p:cNvPr>
          <p:cNvSpPr txBox="1">
            <a:spLocks noGrp="1" noChangeArrowheads="1"/>
          </p:cNvSpPr>
          <p:nvPr>
            <p:ph type="title"/>
            <p:custDataLst>
              <p:tags r:id="rId1"/>
            </p:custDataLst>
          </p:nvPr>
        </p:nvSpPr>
        <p:spPr bwMode="gray">
          <a:xfrm>
            <a:off x="1524001" y="104502"/>
            <a:ext cx="9143999" cy="428159"/>
          </a:xfrm>
          <a:prstGeom prst="rect">
            <a:avLst/>
          </a:prstGeom>
          <a:noFill/>
          <a:ln>
            <a:noFill/>
          </a:ln>
        </p:spPr>
        <p:txBody>
          <a:bodyPr vert="horz" lIns="91440" tIns="45720" rIns="91440" bIns="45720" rtlCol="0" anchor="b" anchorCtr="0">
            <a:noAutofit/>
          </a:bodyPr>
          <a:lstStyle>
            <a:lvl1pPr algn="l" defTabSz="457200" rtl="0" eaLnBrk="1" latinLnBrk="0" hangingPunct="1">
              <a:spcBef>
                <a:spcPct val="0"/>
              </a:spcBef>
              <a:buNone/>
              <a:defRPr sz="2800" b="0" i="0" kern="1200">
                <a:solidFill>
                  <a:schemeClr val="tx1"/>
                </a:solidFill>
                <a:latin typeface="Calibri Light" panose="020F0302020204030204" pitchFamily="34" charset="0"/>
                <a:ea typeface="+mj-ea"/>
                <a:cs typeface="Calibri Light" panose="020F0302020204030204" pitchFamily="34" charset="0"/>
              </a:defRPr>
            </a:lvl1pPr>
          </a:lstStyle>
          <a:p>
            <a:pPr algn="ctr">
              <a:spcBef>
                <a:spcPts val="600"/>
              </a:spcBef>
              <a:spcAft>
                <a:spcPts val="600"/>
              </a:spcAft>
            </a:pPr>
            <a:r>
              <a:rPr lang="de-DE" sz="2400" noProof="1">
                <a:solidFill>
                  <a:schemeClr val="bg1"/>
                </a:solidFill>
                <a:effectLst>
                  <a:outerShdw blurRad="38100" dist="38100" dir="2700000" algn="tl">
                    <a:srgbClr val="000000">
                      <a:alpha val="43137"/>
                    </a:srgbClr>
                  </a:outerShdw>
                </a:effectLst>
                <a:latin typeface="+mn-lt"/>
              </a:rPr>
              <a:t>Nationwide Trend Analysis: Kidnapping</a:t>
            </a:r>
            <a:endParaRPr lang="de-DE" sz="2400">
              <a:solidFill>
                <a:schemeClr val="bg1"/>
              </a:solidFill>
              <a:effectLst>
                <a:outerShdw blurRad="38100" dist="38100" dir="2700000" algn="tl">
                  <a:srgbClr val="000000">
                    <a:alpha val="43137"/>
                  </a:srgbClr>
                </a:outerShdw>
              </a:effectLst>
              <a:latin typeface="+mn-lt"/>
            </a:endParaRPr>
          </a:p>
        </p:txBody>
      </p:sp>
      <p:sp>
        <p:nvSpPr>
          <p:cNvPr id="7" name="Text Placeholder 2">
            <a:extLst>
              <a:ext uri="{FF2B5EF4-FFF2-40B4-BE49-F238E27FC236}">
                <a16:creationId xmlns:a16="http://schemas.microsoft.com/office/drawing/2014/main" id="{2596665D-7B3F-4938-B596-887647BDF5BD}"/>
              </a:ext>
            </a:extLst>
          </p:cNvPr>
          <p:cNvSpPr>
            <a:spLocks noGrp="1"/>
          </p:cNvSpPr>
          <p:nvPr>
            <p:ph type="body" sz="quarter" idx="13"/>
          </p:nvPr>
        </p:nvSpPr>
        <p:spPr>
          <a:xfrm>
            <a:off x="219740" y="5294640"/>
            <a:ext cx="11752519" cy="1246553"/>
          </a:xfrm>
        </p:spPr>
        <p:txBody>
          <a:bodyPr/>
          <a:lstStyle/>
          <a:p>
            <a:r>
              <a:rPr lang="en-GB" sz="1400" dirty="0">
                <a:solidFill>
                  <a:schemeClr val="tx1">
                    <a:lumMod val="65000"/>
                    <a:lumOff val="35000"/>
                  </a:schemeClr>
                </a:solidFill>
                <a:latin typeface="+mn-lt"/>
              </a:rPr>
              <a:t>Mass abductions, notably in the North West and the Middle Belt, and targeted kidnapping in many parts of the country continue to plague Nigeria, with the brunt borne by the local national community.  The very high number of kidnap victims recorded in Borno, Niger, Kaduna, Katsina, and Zamfara States are attributable to continued mass abductions carried out by insurgents and bandit gangs</a:t>
            </a:r>
            <a:r>
              <a:rPr lang="en-US" sz="1400" dirty="0">
                <a:solidFill>
                  <a:schemeClr val="tx1">
                    <a:lumMod val="65000"/>
                    <a:lumOff val="35000"/>
                  </a:schemeClr>
                </a:solidFill>
                <a:latin typeface="+mn-lt"/>
              </a:rPr>
              <a:t>.  This reporting month, of the 745 abducted victims, 431 (59%) were abducted in the North West region followed by 168 (23%) in the North Central region and 100 (13%) in the North East region. Zamfara State recorded the highest number of kidnapped victims (174) followed by Katsina State (126) and Kaduna State (111).</a:t>
            </a:r>
          </a:p>
        </p:txBody>
      </p:sp>
      <p:pic>
        <p:nvPicPr>
          <p:cNvPr id="2" name="Picture 1">
            <a:extLst>
              <a:ext uri="{FF2B5EF4-FFF2-40B4-BE49-F238E27FC236}">
                <a16:creationId xmlns:a16="http://schemas.microsoft.com/office/drawing/2014/main" id="{8AB7D710-0292-1BA6-0573-72D14F8566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657000" y="648754"/>
            <a:ext cx="8877995" cy="4383371"/>
          </a:xfrm>
          <a:prstGeom prst="rect">
            <a:avLst/>
          </a:prstGeom>
        </p:spPr>
      </p:pic>
    </p:spTree>
    <p:extLst>
      <p:ext uri="{BB962C8B-B14F-4D97-AF65-F5344CB8AC3E}">
        <p14:creationId xmlns:p14="http://schemas.microsoft.com/office/powerpoint/2010/main" val="1174608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descr="© INSCALE GmbH, 05.05.2010 http://www.presentationload.com/">
            <a:extLst>
              <a:ext uri="{FF2B5EF4-FFF2-40B4-BE49-F238E27FC236}">
                <a16:creationId xmlns:a16="http://schemas.microsoft.com/office/drawing/2014/main" id="{A8F486E5-D6C6-4015-90A3-90563014757D}"/>
              </a:ext>
            </a:extLst>
          </p:cNvPr>
          <p:cNvSpPr txBox="1">
            <a:spLocks noGrp="1" noChangeArrowheads="1"/>
          </p:cNvSpPr>
          <p:nvPr>
            <p:ph type="title"/>
            <p:custDataLst>
              <p:tags r:id="rId1"/>
            </p:custDataLst>
          </p:nvPr>
        </p:nvSpPr>
        <p:spPr bwMode="gray">
          <a:xfrm>
            <a:off x="1524000" y="110907"/>
            <a:ext cx="9144000" cy="430632"/>
          </a:xfrm>
          <a:prstGeom prst="rect">
            <a:avLst/>
          </a:prstGeom>
          <a:noFill/>
          <a:ln>
            <a:noFill/>
          </a:ln>
        </p:spPr>
        <p:txBody>
          <a:bodyPr vert="horz" lIns="91440" tIns="45720" rIns="91440" bIns="45720" rtlCol="0" anchor="b" anchorCtr="0">
            <a:noAutofit/>
          </a:bodyPr>
          <a:lstStyle>
            <a:lvl1pPr algn="l" defTabSz="457200" rtl="0" eaLnBrk="1" latinLnBrk="0" hangingPunct="1">
              <a:spcBef>
                <a:spcPct val="0"/>
              </a:spcBef>
              <a:buNone/>
              <a:defRPr sz="2800" b="0" i="0" kern="1200">
                <a:solidFill>
                  <a:schemeClr val="tx1"/>
                </a:solidFill>
                <a:latin typeface="Calibri Light" panose="020F0302020204030204" pitchFamily="34" charset="0"/>
                <a:ea typeface="+mj-ea"/>
                <a:cs typeface="Calibri Light" panose="020F0302020204030204" pitchFamily="34" charset="0"/>
              </a:defRPr>
            </a:lvl1pPr>
          </a:lstStyle>
          <a:p>
            <a:pPr algn="ctr">
              <a:spcBef>
                <a:spcPts val="600"/>
              </a:spcBef>
              <a:spcAft>
                <a:spcPts val="600"/>
              </a:spcAft>
            </a:pPr>
            <a:r>
              <a:rPr lang="de-DE" sz="2400" noProof="1">
                <a:solidFill>
                  <a:schemeClr val="bg1"/>
                </a:solidFill>
                <a:effectLst>
                  <a:outerShdw blurRad="38100" dist="38100" dir="2700000" algn="tl">
                    <a:srgbClr val="000000">
                      <a:alpha val="43137"/>
                    </a:srgbClr>
                  </a:outerShdw>
                </a:effectLst>
                <a:latin typeface="+mn-lt"/>
              </a:rPr>
              <a:t>Nationwide Trend Analysis: IED Frequency and Fatalities</a:t>
            </a:r>
            <a:endParaRPr lang="de-DE" sz="2400">
              <a:solidFill>
                <a:schemeClr val="bg1"/>
              </a:solidFill>
              <a:effectLst>
                <a:outerShdw blurRad="38100" dist="38100" dir="2700000" algn="tl">
                  <a:srgbClr val="000000">
                    <a:alpha val="43137"/>
                  </a:srgbClr>
                </a:outerShdw>
              </a:effectLst>
              <a:latin typeface="+mn-lt"/>
            </a:endParaRPr>
          </a:p>
        </p:txBody>
      </p:sp>
      <p:sp>
        <p:nvSpPr>
          <p:cNvPr id="9" name="Rectangle 8">
            <a:extLst>
              <a:ext uri="{FF2B5EF4-FFF2-40B4-BE49-F238E27FC236}">
                <a16:creationId xmlns:a16="http://schemas.microsoft.com/office/drawing/2014/main" id="{6F0FCCA1-D5B5-417D-AF88-FF89972082CB}"/>
              </a:ext>
            </a:extLst>
          </p:cNvPr>
          <p:cNvSpPr/>
          <p:nvPr/>
        </p:nvSpPr>
        <p:spPr>
          <a:xfrm>
            <a:off x="180752" y="5624622"/>
            <a:ext cx="11812773" cy="893142"/>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Gill Sans MT"/>
            </a:endParaRPr>
          </a:p>
        </p:txBody>
      </p:sp>
      <p:sp>
        <p:nvSpPr>
          <p:cNvPr id="8" name="Text Placeholder 2">
            <a:extLst>
              <a:ext uri="{FF2B5EF4-FFF2-40B4-BE49-F238E27FC236}">
                <a16:creationId xmlns:a16="http://schemas.microsoft.com/office/drawing/2014/main" id="{8C943528-D2F0-4EB3-98B7-E1CF583A3AC6}"/>
              </a:ext>
            </a:extLst>
          </p:cNvPr>
          <p:cNvSpPr>
            <a:spLocks noGrp="1"/>
          </p:cNvSpPr>
          <p:nvPr>
            <p:ph type="body" sz="quarter" idx="13"/>
          </p:nvPr>
        </p:nvSpPr>
        <p:spPr>
          <a:xfrm>
            <a:off x="198475" y="5575223"/>
            <a:ext cx="11795050" cy="931908"/>
          </a:xfrm>
        </p:spPr>
        <p:txBody>
          <a:bodyPr/>
          <a:lstStyle/>
          <a:p>
            <a:r>
              <a:rPr lang="en-GB" sz="1400" dirty="0">
                <a:solidFill>
                  <a:schemeClr val="tx1">
                    <a:lumMod val="65000"/>
                    <a:lumOff val="35000"/>
                  </a:schemeClr>
                </a:solidFill>
                <a:latin typeface="+mn-lt"/>
              </a:rPr>
              <a:t>This reporting period has seen a decrease in reported fatalities emanating from explosive incidents or accidents compared to December. This month, so far, 21 incidents were reported in Borno State and one in Yobe State resulting in 47 fatalities. In Yobe State, one vigilante was killed following an IED explosion in Geidam LGA. Insurgents deploy IEDs along MSRs as an effective area weapon to target GSF personnel, and civilians – including humanitarian aid and development sector organizations transiting these routes – in the North East region. </a:t>
            </a:r>
          </a:p>
        </p:txBody>
      </p:sp>
      <p:pic>
        <p:nvPicPr>
          <p:cNvPr id="2" name="Picture 1">
            <a:extLst>
              <a:ext uri="{FF2B5EF4-FFF2-40B4-BE49-F238E27FC236}">
                <a16:creationId xmlns:a16="http://schemas.microsoft.com/office/drawing/2014/main" id="{3DE9AEC0-D028-2587-6DCA-19CC460524A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733058" y="951695"/>
            <a:ext cx="8725882" cy="4308268"/>
          </a:xfrm>
          <a:prstGeom prst="rect">
            <a:avLst/>
          </a:prstGeom>
        </p:spPr>
      </p:pic>
    </p:spTree>
    <p:extLst>
      <p:ext uri="{BB962C8B-B14F-4D97-AF65-F5344CB8AC3E}">
        <p14:creationId xmlns:p14="http://schemas.microsoft.com/office/powerpoint/2010/main" val="2012504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descr="© INSCALE GmbH, 05.05.2010 http://www.presentationload.com/">
            <a:extLst>
              <a:ext uri="{FF2B5EF4-FFF2-40B4-BE49-F238E27FC236}">
                <a16:creationId xmlns:a16="http://schemas.microsoft.com/office/drawing/2014/main" id="{A8F486E5-D6C6-4015-90A3-90563014757D}"/>
              </a:ext>
            </a:extLst>
          </p:cNvPr>
          <p:cNvSpPr txBox="1">
            <a:spLocks noGrp="1" noChangeArrowheads="1"/>
          </p:cNvSpPr>
          <p:nvPr>
            <p:ph type="title"/>
            <p:custDataLst>
              <p:tags r:id="rId1"/>
            </p:custDataLst>
          </p:nvPr>
        </p:nvSpPr>
        <p:spPr bwMode="gray">
          <a:xfrm>
            <a:off x="1524000" y="110907"/>
            <a:ext cx="9144000" cy="430632"/>
          </a:xfrm>
          <a:prstGeom prst="rect">
            <a:avLst/>
          </a:prstGeom>
          <a:noFill/>
          <a:ln>
            <a:noFill/>
          </a:ln>
        </p:spPr>
        <p:txBody>
          <a:bodyPr vert="horz" lIns="91440" tIns="45720" rIns="91440" bIns="45720" rtlCol="0" anchor="b" anchorCtr="0">
            <a:noAutofit/>
          </a:bodyPr>
          <a:lstStyle>
            <a:lvl1pPr algn="l" defTabSz="457200" rtl="0" eaLnBrk="1" latinLnBrk="0" hangingPunct="1">
              <a:spcBef>
                <a:spcPct val="0"/>
              </a:spcBef>
              <a:buNone/>
              <a:defRPr sz="2800" b="0" i="0" kern="1200">
                <a:solidFill>
                  <a:schemeClr val="tx1"/>
                </a:solidFill>
                <a:latin typeface="Calibri Light" panose="020F0302020204030204" pitchFamily="34" charset="0"/>
                <a:ea typeface="+mj-ea"/>
                <a:cs typeface="Calibri Light" panose="020F0302020204030204" pitchFamily="34" charset="0"/>
              </a:defRPr>
            </a:lvl1pPr>
          </a:lstStyle>
          <a:p>
            <a:pPr algn="ctr">
              <a:spcBef>
                <a:spcPts val="600"/>
              </a:spcBef>
              <a:spcAft>
                <a:spcPts val="600"/>
              </a:spcAft>
            </a:pPr>
            <a:r>
              <a:rPr lang="de-DE" sz="2400" noProof="1">
                <a:solidFill>
                  <a:schemeClr val="bg1"/>
                </a:solidFill>
                <a:effectLst>
                  <a:outerShdw blurRad="38100" dist="38100" dir="2700000" algn="tl">
                    <a:srgbClr val="000000">
                      <a:alpha val="43137"/>
                    </a:srgbClr>
                  </a:outerShdw>
                </a:effectLst>
                <a:latin typeface="+mn-lt"/>
              </a:rPr>
              <a:t>Primary Threat Actors: 15 worst-affected LGAs</a:t>
            </a:r>
            <a:endParaRPr lang="de-DE" sz="2400">
              <a:solidFill>
                <a:schemeClr val="bg1"/>
              </a:solidFill>
              <a:effectLst>
                <a:outerShdw blurRad="38100" dist="38100" dir="2700000" algn="tl">
                  <a:srgbClr val="000000">
                    <a:alpha val="43137"/>
                  </a:srgbClr>
                </a:outerShdw>
              </a:effectLst>
              <a:latin typeface="+mn-lt"/>
            </a:endParaRPr>
          </a:p>
        </p:txBody>
      </p:sp>
      <p:pic>
        <p:nvPicPr>
          <p:cNvPr id="6" name="Picture 5">
            <a:extLst>
              <a:ext uri="{FF2B5EF4-FFF2-40B4-BE49-F238E27FC236}">
                <a16:creationId xmlns:a16="http://schemas.microsoft.com/office/drawing/2014/main" id="{1FB2C8CC-7825-44B2-9068-80856164ED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959865" y="724520"/>
            <a:ext cx="7669758" cy="4389400"/>
          </a:xfrm>
          <a:prstGeom prst="rect">
            <a:avLst/>
          </a:prstGeom>
          <a:effectLst>
            <a:outerShdw blurRad="127000" dist="114300" dir="7800000" algn="ctr" rotWithShape="0">
              <a:srgbClr val="000000">
                <a:alpha val="17000"/>
              </a:srgbClr>
            </a:outerShdw>
          </a:effectLst>
        </p:spPr>
      </p:pic>
      <p:sp>
        <p:nvSpPr>
          <p:cNvPr id="9" name="Rectangle 8">
            <a:extLst>
              <a:ext uri="{FF2B5EF4-FFF2-40B4-BE49-F238E27FC236}">
                <a16:creationId xmlns:a16="http://schemas.microsoft.com/office/drawing/2014/main" id="{6F0FCCA1-D5B5-417D-AF88-FF89972082CB}"/>
              </a:ext>
            </a:extLst>
          </p:cNvPr>
          <p:cNvSpPr/>
          <p:nvPr/>
        </p:nvSpPr>
        <p:spPr>
          <a:xfrm>
            <a:off x="372140" y="5206455"/>
            <a:ext cx="11429999" cy="1378532"/>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Gill Sans MT"/>
            </a:endParaRPr>
          </a:p>
        </p:txBody>
      </p:sp>
      <p:sp>
        <p:nvSpPr>
          <p:cNvPr id="8" name="Text Placeholder 2">
            <a:extLst>
              <a:ext uri="{FF2B5EF4-FFF2-40B4-BE49-F238E27FC236}">
                <a16:creationId xmlns:a16="http://schemas.microsoft.com/office/drawing/2014/main" id="{8C943528-D2F0-4EB3-98B7-E1CF583A3AC6}"/>
              </a:ext>
            </a:extLst>
          </p:cNvPr>
          <p:cNvSpPr>
            <a:spLocks noGrp="1"/>
          </p:cNvSpPr>
          <p:nvPr>
            <p:ph type="body" sz="quarter" idx="13"/>
          </p:nvPr>
        </p:nvSpPr>
        <p:spPr>
          <a:xfrm>
            <a:off x="389861" y="5219684"/>
            <a:ext cx="11412278" cy="1304011"/>
          </a:xfrm>
        </p:spPr>
        <p:txBody>
          <a:bodyPr/>
          <a:lstStyle/>
          <a:p>
            <a:r>
              <a:rPr lang="en-GB" sz="1400" dirty="0">
                <a:solidFill>
                  <a:schemeClr val="tx1">
                    <a:lumMod val="65000"/>
                    <a:lumOff val="35000"/>
                  </a:schemeClr>
                </a:solidFill>
                <a:latin typeface="+mn-lt"/>
              </a:rPr>
              <a:t>The chart illustrates the high number of fatalities resulting from intensified and concentrated military operations targeting insurgents, bandits, and other criminals at their hideouts and logistics bases in the forested areas across the country. </a:t>
            </a:r>
            <a:r>
              <a:rPr lang="en-US" sz="1400" dirty="0">
                <a:solidFill>
                  <a:schemeClr val="tx1">
                    <a:lumMod val="65000"/>
                    <a:lumOff val="35000"/>
                  </a:schemeClr>
                </a:solidFill>
                <a:latin typeface="+mn-lt"/>
              </a:rPr>
              <a:t>The clashes between ISWAP and JAS have further contributed to high fatalities in Borno State. Similar clashes and direct attacks are likely in the short term and the threat to civilians (including aid workers) remains. Of the 669 reported fatalities in Jan24, 97 (14%) fatalities were criminals and insurgents killed during military operations. While bandits’ and insurgents’ activities are responsible for the worsening security conditions in the North West and North East regions respectively, the activities of organized criminal gangs and localized clashes are the most reported incident type in Benue and Plateau States.</a:t>
            </a:r>
            <a:endParaRPr lang="en-GB" sz="1400" dirty="0">
              <a:solidFill>
                <a:schemeClr val="tx1">
                  <a:lumMod val="65000"/>
                  <a:lumOff val="35000"/>
                </a:schemeClr>
              </a:solidFill>
              <a:latin typeface="+mn-lt"/>
            </a:endParaRPr>
          </a:p>
        </p:txBody>
      </p:sp>
    </p:spTree>
    <p:extLst>
      <p:ext uri="{BB962C8B-B14F-4D97-AF65-F5344CB8AC3E}">
        <p14:creationId xmlns:p14="http://schemas.microsoft.com/office/powerpoint/2010/main" val="2754349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tangle 149">
            <a:extLst>
              <a:ext uri="{FF2B5EF4-FFF2-40B4-BE49-F238E27FC236}">
                <a16:creationId xmlns:a16="http://schemas.microsoft.com/office/drawing/2014/main" id="{F296E725-36FD-43D6-9E69-BE225D5489B8}"/>
              </a:ext>
            </a:extLst>
          </p:cNvPr>
          <p:cNvSpPr/>
          <p:nvPr/>
        </p:nvSpPr>
        <p:spPr>
          <a:xfrm>
            <a:off x="131585" y="869062"/>
            <a:ext cx="11890999" cy="5725056"/>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7CFBA8CE-AF4E-46F0-B1FA-0E2B769BF267}"/>
              </a:ext>
            </a:extLst>
          </p:cNvPr>
          <p:cNvSpPr txBox="1"/>
          <p:nvPr/>
        </p:nvSpPr>
        <p:spPr>
          <a:xfrm>
            <a:off x="1339873" y="139607"/>
            <a:ext cx="8788893" cy="646331"/>
          </a:xfrm>
          <a:prstGeom prst="rect">
            <a:avLst/>
          </a:prstGeom>
          <a:noFill/>
        </p:spPr>
        <p:txBody>
          <a:bodyPr wrap="square" rtlCol="0">
            <a:spAutoFit/>
          </a:bodyPr>
          <a:lstStyle/>
          <a:p>
            <a:pPr algn="ctr"/>
            <a:r>
              <a:rPr lang="en-US" sz="3600" b="1" dirty="0">
                <a:solidFill>
                  <a:schemeClr val="bg1"/>
                </a:solidFill>
                <a:effectLst>
                  <a:outerShdw blurRad="38100" dist="38100" dir="2700000" algn="tl">
                    <a:srgbClr val="000000">
                      <a:alpha val="43137"/>
                    </a:srgbClr>
                  </a:outerShdw>
                </a:effectLst>
              </a:rPr>
              <a:t>Threat Factors and Actors</a:t>
            </a:r>
          </a:p>
        </p:txBody>
      </p:sp>
      <p:grpSp>
        <p:nvGrpSpPr>
          <p:cNvPr id="2" name="Group 1">
            <a:extLst>
              <a:ext uri="{FF2B5EF4-FFF2-40B4-BE49-F238E27FC236}">
                <a16:creationId xmlns:a16="http://schemas.microsoft.com/office/drawing/2014/main" id="{B5506DA9-A4B0-4D6B-A3FD-3563D7152784}"/>
              </a:ext>
            </a:extLst>
          </p:cNvPr>
          <p:cNvGrpSpPr/>
          <p:nvPr/>
        </p:nvGrpSpPr>
        <p:grpSpPr>
          <a:xfrm>
            <a:off x="251759" y="969365"/>
            <a:ext cx="11688483" cy="5543158"/>
            <a:chOff x="131585" y="923185"/>
            <a:chExt cx="11688483" cy="5543158"/>
          </a:xfrm>
        </p:grpSpPr>
        <p:pic>
          <p:nvPicPr>
            <p:cNvPr id="6" name="Picture 5" descr="A picture containing shoji, window, building, large&#10;&#10;Description automatically generated">
              <a:extLst>
                <a:ext uri="{FF2B5EF4-FFF2-40B4-BE49-F238E27FC236}">
                  <a16:creationId xmlns:a16="http://schemas.microsoft.com/office/drawing/2014/main" id="{1A220694-89C8-4101-9A33-E2CEC47AE3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880" y="923185"/>
              <a:ext cx="11157610" cy="4089072"/>
            </a:xfrm>
            <a:prstGeom prst="rect">
              <a:avLst/>
            </a:prstGeom>
          </p:spPr>
        </p:pic>
        <p:grpSp>
          <p:nvGrpSpPr>
            <p:cNvPr id="7" name="Group 6">
              <a:extLst>
                <a:ext uri="{FF2B5EF4-FFF2-40B4-BE49-F238E27FC236}">
                  <a16:creationId xmlns:a16="http://schemas.microsoft.com/office/drawing/2014/main" id="{0D9043BF-99ED-4AD3-B0F9-3508B945AF27}"/>
                </a:ext>
              </a:extLst>
            </p:cNvPr>
            <p:cNvGrpSpPr/>
            <p:nvPr/>
          </p:nvGrpSpPr>
          <p:grpSpPr>
            <a:xfrm>
              <a:off x="606921" y="5072829"/>
              <a:ext cx="1457473" cy="1393486"/>
              <a:chOff x="486852" y="4924086"/>
              <a:chExt cx="1457473" cy="1393486"/>
            </a:xfrm>
          </p:grpSpPr>
          <p:grpSp>
            <p:nvGrpSpPr>
              <p:cNvPr id="8" name="Group 7">
                <a:extLst>
                  <a:ext uri="{FF2B5EF4-FFF2-40B4-BE49-F238E27FC236}">
                    <a16:creationId xmlns:a16="http://schemas.microsoft.com/office/drawing/2014/main" id="{F9614F16-EB67-4931-826C-84CE94ACEC5B}"/>
                  </a:ext>
                </a:extLst>
              </p:cNvPr>
              <p:cNvGrpSpPr/>
              <p:nvPr/>
            </p:nvGrpSpPr>
            <p:grpSpPr>
              <a:xfrm>
                <a:off x="486852" y="4924086"/>
                <a:ext cx="1457473" cy="966931"/>
                <a:chOff x="486852" y="4924086"/>
                <a:chExt cx="1457473" cy="966931"/>
              </a:xfrm>
            </p:grpSpPr>
            <p:sp>
              <p:nvSpPr>
                <p:cNvPr id="15" name="TextBox 14">
                  <a:extLst>
                    <a:ext uri="{FF2B5EF4-FFF2-40B4-BE49-F238E27FC236}">
                      <a16:creationId xmlns:a16="http://schemas.microsoft.com/office/drawing/2014/main" id="{EC7FC425-C180-4970-B40F-49886398326A}"/>
                    </a:ext>
                  </a:extLst>
                </p:cNvPr>
                <p:cNvSpPr txBox="1"/>
                <p:nvPr userDrawn="1"/>
              </p:nvSpPr>
              <p:spPr>
                <a:xfrm rot="16200000">
                  <a:off x="703788" y="5186178"/>
                  <a:ext cx="785793" cy="261610"/>
                </a:xfrm>
                <a:prstGeom prst="rect">
                  <a:avLst/>
                </a:prstGeom>
                <a:noFill/>
              </p:spPr>
              <p:txBody>
                <a:bodyPr wrap="none" rtlCol="0">
                  <a:spAutoFit/>
                </a:bodyPr>
                <a:lstStyle/>
                <a:p>
                  <a:pPr algn="r"/>
                  <a:r>
                    <a:rPr lang="en-US" sz="1050" b="1" dirty="0"/>
                    <a:t>South East</a:t>
                  </a:r>
                </a:p>
              </p:txBody>
            </p:sp>
            <p:sp>
              <p:nvSpPr>
                <p:cNvPr id="16" name="TextBox 15">
                  <a:extLst>
                    <a:ext uri="{FF2B5EF4-FFF2-40B4-BE49-F238E27FC236}">
                      <a16:creationId xmlns:a16="http://schemas.microsoft.com/office/drawing/2014/main" id="{7BAC9AA4-E8C0-46E5-87B0-AC428F1CB837}"/>
                    </a:ext>
                  </a:extLst>
                </p:cNvPr>
                <p:cNvSpPr txBox="1"/>
                <p:nvPr userDrawn="1"/>
              </p:nvSpPr>
              <p:spPr>
                <a:xfrm rot="16200000">
                  <a:off x="854439" y="5276747"/>
                  <a:ext cx="966931" cy="261610"/>
                </a:xfrm>
                <a:prstGeom prst="rect">
                  <a:avLst/>
                </a:prstGeom>
                <a:noFill/>
              </p:spPr>
              <p:txBody>
                <a:bodyPr wrap="none" rtlCol="0">
                  <a:spAutoFit/>
                </a:bodyPr>
                <a:lstStyle/>
                <a:p>
                  <a:pPr algn="r"/>
                  <a:r>
                    <a:rPr lang="en-US" sz="1050" b="1" dirty="0"/>
                    <a:t>North Central</a:t>
                  </a:r>
                </a:p>
              </p:txBody>
            </p:sp>
            <p:sp>
              <p:nvSpPr>
                <p:cNvPr id="17" name="TextBox 16">
                  <a:extLst>
                    <a:ext uri="{FF2B5EF4-FFF2-40B4-BE49-F238E27FC236}">
                      <a16:creationId xmlns:a16="http://schemas.microsoft.com/office/drawing/2014/main" id="{16564034-9AC7-4A49-92D0-F9667A310A6D}"/>
                    </a:ext>
                  </a:extLst>
                </p:cNvPr>
                <p:cNvSpPr txBox="1"/>
                <p:nvPr userDrawn="1"/>
              </p:nvSpPr>
              <p:spPr>
                <a:xfrm rot="16200000">
                  <a:off x="1151558" y="5217436"/>
                  <a:ext cx="848309" cy="261610"/>
                </a:xfrm>
                <a:prstGeom prst="rect">
                  <a:avLst/>
                </a:prstGeom>
                <a:noFill/>
              </p:spPr>
              <p:txBody>
                <a:bodyPr wrap="none" rtlCol="0">
                  <a:spAutoFit/>
                </a:bodyPr>
                <a:lstStyle/>
                <a:p>
                  <a:pPr algn="r"/>
                  <a:r>
                    <a:rPr lang="en-US" sz="1050" b="1" dirty="0"/>
                    <a:t>North West</a:t>
                  </a:r>
                </a:p>
              </p:txBody>
            </p:sp>
            <p:sp>
              <p:nvSpPr>
                <p:cNvPr id="18" name="TextBox 17">
                  <a:extLst>
                    <a:ext uri="{FF2B5EF4-FFF2-40B4-BE49-F238E27FC236}">
                      <a16:creationId xmlns:a16="http://schemas.microsoft.com/office/drawing/2014/main" id="{793B1B40-58B2-40D6-A072-D3653990D754}"/>
                    </a:ext>
                  </a:extLst>
                </p:cNvPr>
                <p:cNvSpPr txBox="1"/>
                <p:nvPr userDrawn="1"/>
              </p:nvSpPr>
              <p:spPr>
                <a:xfrm rot="16200000">
                  <a:off x="1419020" y="5187781"/>
                  <a:ext cx="788999" cy="261610"/>
                </a:xfrm>
                <a:prstGeom prst="rect">
                  <a:avLst/>
                </a:prstGeom>
                <a:noFill/>
              </p:spPr>
              <p:txBody>
                <a:bodyPr wrap="none" rtlCol="0">
                  <a:spAutoFit/>
                </a:bodyPr>
                <a:lstStyle/>
                <a:p>
                  <a:pPr algn="r"/>
                  <a:r>
                    <a:rPr lang="en-US" sz="1050" b="1" dirty="0"/>
                    <a:t>North East</a:t>
                  </a:r>
                </a:p>
              </p:txBody>
            </p:sp>
            <p:sp>
              <p:nvSpPr>
                <p:cNvPr id="19" name="TextBox 18">
                  <a:extLst>
                    <a:ext uri="{FF2B5EF4-FFF2-40B4-BE49-F238E27FC236}">
                      <a16:creationId xmlns:a16="http://schemas.microsoft.com/office/drawing/2014/main" id="{0A9C924F-8359-480C-AD8A-14DF70848B89}"/>
                    </a:ext>
                  </a:extLst>
                </p:cNvPr>
                <p:cNvSpPr txBox="1"/>
                <p:nvPr userDrawn="1"/>
              </p:nvSpPr>
              <p:spPr>
                <a:xfrm rot="16200000">
                  <a:off x="177472" y="5233466"/>
                  <a:ext cx="880369" cy="261610"/>
                </a:xfrm>
                <a:prstGeom prst="rect">
                  <a:avLst/>
                </a:prstGeom>
                <a:noFill/>
              </p:spPr>
              <p:txBody>
                <a:bodyPr wrap="none" rtlCol="0">
                  <a:spAutoFit/>
                </a:bodyPr>
                <a:lstStyle/>
                <a:p>
                  <a:pPr algn="r"/>
                  <a:r>
                    <a:rPr lang="en-US" sz="1050" b="1" dirty="0"/>
                    <a:t>South South</a:t>
                  </a:r>
                </a:p>
              </p:txBody>
            </p:sp>
            <p:sp>
              <p:nvSpPr>
                <p:cNvPr id="20" name="TextBox 19">
                  <a:extLst>
                    <a:ext uri="{FF2B5EF4-FFF2-40B4-BE49-F238E27FC236}">
                      <a16:creationId xmlns:a16="http://schemas.microsoft.com/office/drawing/2014/main" id="{AFABBD52-4669-4DE0-BF60-4797C7F5273A}"/>
                    </a:ext>
                  </a:extLst>
                </p:cNvPr>
                <p:cNvSpPr txBox="1"/>
                <p:nvPr userDrawn="1"/>
              </p:nvSpPr>
              <p:spPr>
                <a:xfrm rot="16200000">
                  <a:off x="436325" y="5215833"/>
                  <a:ext cx="845103" cy="261610"/>
                </a:xfrm>
                <a:prstGeom prst="rect">
                  <a:avLst/>
                </a:prstGeom>
                <a:noFill/>
              </p:spPr>
              <p:txBody>
                <a:bodyPr wrap="none" rtlCol="0">
                  <a:spAutoFit/>
                </a:bodyPr>
                <a:lstStyle/>
                <a:p>
                  <a:pPr algn="r"/>
                  <a:r>
                    <a:rPr lang="en-US" sz="1050" b="1" dirty="0"/>
                    <a:t>South West</a:t>
                  </a:r>
                </a:p>
              </p:txBody>
            </p:sp>
          </p:grpSp>
          <p:grpSp>
            <p:nvGrpSpPr>
              <p:cNvPr id="12" name="Group 11">
                <a:extLst>
                  <a:ext uri="{FF2B5EF4-FFF2-40B4-BE49-F238E27FC236}">
                    <a16:creationId xmlns:a16="http://schemas.microsoft.com/office/drawing/2014/main" id="{5CAAFED1-7204-459A-A522-470F9D5C451F}"/>
                  </a:ext>
                </a:extLst>
              </p:cNvPr>
              <p:cNvGrpSpPr/>
              <p:nvPr/>
            </p:nvGrpSpPr>
            <p:grpSpPr>
              <a:xfrm>
                <a:off x="518579" y="5839092"/>
                <a:ext cx="1408406" cy="478480"/>
                <a:chOff x="518580" y="5840320"/>
                <a:chExt cx="1389898" cy="472193"/>
              </a:xfrm>
            </p:grpSpPr>
            <p:pic>
              <p:nvPicPr>
                <p:cNvPr id="13" name="Picture 12" descr="A picture containing shape&#10;&#10;Description automatically generated">
                  <a:extLst>
                    <a:ext uri="{FF2B5EF4-FFF2-40B4-BE49-F238E27FC236}">
                      <a16:creationId xmlns:a16="http://schemas.microsoft.com/office/drawing/2014/main" id="{DB3E9047-C2E7-4915-B80F-CB7E539F54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395" y="5840320"/>
                  <a:ext cx="1370883" cy="472193"/>
                </a:xfrm>
                <a:prstGeom prst="rect">
                  <a:avLst/>
                </a:prstGeom>
              </p:spPr>
            </p:pic>
            <p:sp>
              <p:nvSpPr>
                <p:cNvPr id="14" name="TextBox 13">
                  <a:extLst>
                    <a:ext uri="{FF2B5EF4-FFF2-40B4-BE49-F238E27FC236}">
                      <a16:creationId xmlns:a16="http://schemas.microsoft.com/office/drawing/2014/main" id="{71ACEACA-6499-430B-940B-91E1FCBB11EF}"/>
                    </a:ext>
                  </a:extLst>
                </p:cNvPr>
                <p:cNvSpPr txBox="1"/>
                <p:nvPr/>
              </p:nvSpPr>
              <p:spPr>
                <a:xfrm>
                  <a:off x="518580" y="5933814"/>
                  <a:ext cx="1389898" cy="269304"/>
                </a:xfrm>
                <a:prstGeom prst="rect">
                  <a:avLst/>
                </a:prstGeom>
                <a:noFill/>
              </p:spPr>
              <p:txBody>
                <a:bodyPr wrap="square" rtlCol="0">
                  <a:spAutoFit/>
                </a:bodyPr>
                <a:lstStyle/>
                <a:p>
                  <a:pPr algn="ctr"/>
                  <a:r>
                    <a:rPr lang="en-US" sz="1150" b="1" i="0" dirty="0">
                      <a:effectLst/>
                      <a:latin typeface="Calibri" panose="020F0502020204030204" pitchFamily="34" charset="0"/>
                    </a:rPr>
                    <a:t>Cultism</a:t>
                  </a:r>
                  <a:endParaRPr lang="en-US" sz="1150" b="1" dirty="0"/>
                </a:p>
              </p:txBody>
            </p:sp>
          </p:grpSp>
        </p:grpSp>
        <p:grpSp>
          <p:nvGrpSpPr>
            <p:cNvPr id="21" name="Group 20">
              <a:extLst>
                <a:ext uri="{FF2B5EF4-FFF2-40B4-BE49-F238E27FC236}">
                  <a16:creationId xmlns:a16="http://schemas.microsoft.com/office/drawing/2014/main" id="{5F7A38DE-DD70-4A6A-B1BB-6BF8AFC83B5A}"/>
                </a:ext>
              </a:extLst>
            </p:cNvPr>
            <p:cNvGrpSpPr/>
            <p:nvPr/>
          </p:nvGrpSpPr>
          <p:grpSpPr>
            <a:xfrm>
              <a:off x="2233313" y="5072829"/>
              <a:ext cx="1457473" cy="1393514"/>
              <a:chOff x="486852" y="4924086"/>
              <a:chExt cx="1457473" cy="1393514"/>
            </a:xfrm>
          </p:grpSpPr>
          <p:grpSp>
            <p:nvGrpSpPr>
              <p:cNvPr id="22" name="Group 21">
                <a:extLst>
                  <a:ext uri="{FF2B5EF4-FFF2-40B4-BE49-F238E27FC236}">
                    <a16:creationId xmlns:a16="http://schemas.microsoft.com/office/drawing/2014/main" id="{CA4027D1-75F2-40B6-BB58-50E553CCC79F}"/>
                  </a:ext>
                </a:extLst>
              </p:cNvPr>
              <p:cNvGrpSpPr/>
              <p:nvPr/>
            </p:nvGrpSpPr>
            <p:grpSpPr>
              <a:xfrm>
                <a:off x="486852" y="4924086"/>
                <a:ext cx="1457473" cy="966931"/>
                <a:chOff x="486852" y="4924086"/>
                <a:chExt cx="1457473" cy="966931"/>
              </a:xfrm>
            </p:grpSpPr>
            <p:sp>
              <p:nvSpPr>
                <p:cNvPr id="26" name="TextBox 25">
                  <a:extLst>
                    <a:ext uri="{FF2B5EF4-FFF2-40B4-BE49-F238E27FC236}">
                      <a16:creationId xmlns:a16="http://schemas.microsoft.com/office/drawing/2014/main" id="{4282C725-9732-4EB4-9DCD-DAA3617C6BB0}"/>
                    </a:ext>
                  </a:extLst>
                </p:cNvPr>
                <p:cNvSpPr txBox="1"/>
                <p:nvPr userDrawn="1"/>
              </p:nvSpPr>
              <p:spPr>
                <a:xfrm rot="16200000">
                  <a:off x="703788" y="5186178"/>
                  <a:ext cx="785793" cy="261610"/>
                </a:xfrm>
                <a:prstGeom prst="rect">
                  <a:avLst/>
                </a:prstGeom>
                <a:noFill/>
              </p:spPr>
              <p:txBody>
                <a:bodyPr wrap="none" rtlCol="0">
                  <a:spAutoFit/>
                </a:bodyPr>
                <a:lstStyle/>
                <a:p>
                  <a:pPr algn="r"/>
                  <a:r>
                    <a:rPr lang="en-US" sz="1050" b="1" dirty="0"/>
                    <a:t>South East</a:t>
                  </a:r>
                </a:p>
              </p:txBody>
            </p:sp>
            <p:sp>
              <p:nvSpPr>
                <p:cNvPr id="27" name="TextBox 26">
                  <a:extLst>
                    <a:ext uri="{FF2B5EF4-FFF2-40B4-BE49-F238E27FC236}">
                      <a16:creationId xmlns:a16="http://schemas.microsoft.com/office/drawing/2014/main" id="{3411D8E6-9F49-4DD2-97A4-1904FCC460D5}"/>
                    </a:ext>
                  </a:extLst>
                </p:cNvPr>
                <p:cNvSpPr txBox="1"/>
                <p:nvPr userDrawn="1"/>
              </p:nvSpPr>
              <p:spPr>
                <a:xfrm rot="16200000">
                  <a:off x="854439" y="5276747"/>
                  <a:ext cx="966931" cy="261610"/>
                </a:xfrm>
                <a:prstGeom prst="rect">
                  <a:avLst/>
                </a:prstGeom>
                <a:noFill/>
              </p:spPr>
              <p:txBody>
                <a:bodyPr wrap="none" rtlCol="0">
                  <a:spAutoFit/>
                </a:bodyPr>
                <a:lstStyle/>
                <a:p>
                  <a:pPr algn="r"/>
                  <a:r>
                    <a:rPr lang="en-US" sz="1050" b="1" dirty="0"/>
                    <a:t>North Central</a:t>
                  </a:r>
                </a:p>
              </p:txBody>
            </p:sp>
            <p:sp>
              <p:nvSpPr>
                <p:cNvPr id="28" name="TextBox 27">
                  <a:extLst>
                    <a:ext uri="{FF2B5EF4-FFF2-40B4-BE49-F238E27FC236}">
                      <a16:creationId xmlns:a16="http://schemas.microsoft.com/office/drawing/2014/main" id="{2329F5EF-CEC0-4C22-892D-582B09B97375}"/>
                    </a:ext>
                  </a:extLst>
                </p:cNvPr>
                <p:cNvSpPr txBox="1"/>
                <p:nvPr userDrawn="1"/>
              </p:nvSpPr>
              <p:spPr>
                <a:xfrm rot="16200000">
                  <a:off x="1151558" y="5217436"/>
                  <a:ext cx="848309" cy="261610"/>
                </a:xfrm>
                <a:prstGeom prst="rect">
                  <a:avLst/>
                </a:prstGeom>
                <a:noFill/>
              </p:spPr>
              <p:txBody>
                <a:bodyPr wrap="none" rtlCol="0">
                  <a:spAutoFit/>
                </a:bodyPr>
                <a:lstStyle/>
                <a:p>
                  <a:pPr algn="r"/>
                  <a:r>
                    <a:rPr lang="en-US" sz="1050" b="1" dirty="0"/>
                    <a:t>North West</a:t>
                  </a:r>
                </a:p>
              </p:txBody>
            </p:sp>
            <p:sp>
              <p:nvSpPr>
                <p:cNvPr id="29" name="TextBox 28">
                  <a:extLst>
                    <a:ext uri="{FF2B5EF4-FFF2-40B4-BE49-F238E27FC236}">
                      <a16:creationId xmlns:a16="http://schemas.microsoft.com/office/drawing/2014/main" id="{79376704-9081-4415-A177-E20A89E278AA}"/>
                    </a:ext>
                  </a:extLst>
                </p:cNvPr>
                <p:cNvSpPr txBox="1"/>
                <p:nvPr userDrawn="1"/>
              </p:nvSpPr>
              <p:spPr>
                <a:xfrm rot="16200000">
                  <a:off x="1419020" y="5187781"/>
                  <a:ext cx="788999" cy="261610"/>
                </a:xfrm>
                <a:prstGeom prst="rect">
                  <a:avLst/>
                </a:prstGeom>
                <a:noFill/>
              </p:spPr>
              <p:txBody>
                <a:bodyPr wrap="none" rtlCol="0">
                  <a:spAutoFit/>
                </a:bodyPr>
                <a:lstStyle/>
                <a:p>
                  <a:pPr algn="r"/>
                  <a:r>
                    <a:rPr lang="en-US" sz="1050" b="1" dirty="0"/>
                    <a:t>North East</a:t>
                  </a:r>
                </a:p>
              </p:txBody>
            </p:sp>
            <p:sp>
              <p:nvSpPr>
                <p:cNvPr id="30" name="TextBox 29">
                  <a:extLst>
                    <a:ext uri="{FF2B5EF4-FFF2-40B4-BE49-F238E27FC236}">
                      <a16:creationId xmlns:a16="http://schemas.microsoft.com/office/drawing/2014/main" id="{C912A630-5603-45F7-90A7-CA64FC3B7A7D}"/>
                    </a:ext>
                  </a:extLst>
                </p:cNvPr>
                <p:cNvSpPr txBox="1"/>
                <p:nvPr userDrawn="1"/>
              </p:nvSpPr>
              <p:spPr>
                <a:xfrm rot="16200000">
                  <a:off x="177472" y="5233466"/>
                  <a:ext cx="880369" cy="261610"/>
                </a:xfrm>
                <a:prstGeom prst="rect">
                  <a:avLst/>
                </a:prstGeom>
                <a:noFill/>
              </p:spPr>
              <p:txBody>
                <a:bodyPr wrap="none" rtlCol="0">
                  <a:spAutoFit/>
                </a:bodyPr>
                <a:lstStyle/>
                <a:p>
                  <a:pPr algn="r"/>
                  <a:r>
                    <a:rPr lang="en-US" sz="1050" b="1" dirty="0"/>
                    <a:t>South South</a:t>
                  </a:r>
                </a:p>
              </p:txBody>
            </p:sp>
            <p:sp>
              <p:nvSpPr>
                <p:cNvPr id="31" name="TextBox 30">
                  <a:extLst>
                    <a:ext uri="{FF2B5EF4-FFF2-40B4-BE49-F238E27FC236}">
                      <a16:creationId xmlns:a16="http://schemas.microsoft.com/office/drawing/2014/main" id="{3F22F0B4-E373-43E2-8CB3-206F49FB7B37}"/>
                    </a:ext>
                  </a:extLst>
                </p:cNvPr>
                <p:cNvSpPr txBox="1"/>
                <p:nvPr userDrawn="1"/>
              </p:nvSpPr>
              <p:spPr>
                <a:xfrm rot="16200000">
                  <a:off x="436325" y="5215833"/>
                  <a:ext cx="845103" cy="261610"/>
                </a:xfrm>
                <a:prstGeom prst="rect">
                  <a:avLst/>
                </a:prstGeom>
                <a:noFill/>
              </p:spPr>
              <p:txBody>
                <a:bodyPr wrap="none" rtlCol="0">
                  <a:spAutoFit/>
                </a:bodyPr>
                <a:lstStyle/>
                <a:p>
                  <a:pPr algn="r"/>
                  <a:r>
                    <a:rPr lang="en-US" sz="1050" b="1" dirty="0"/>
                    <a:t>South West</a:t>
                  </a:r>
                </a:p>
              </p:txBody>
            </p:sp>
          </p:grpSp>
          <p:grpSp>
            <p:nvGrpSpPr>
              <p:cNvPr id="23" name="Group 22">
                <a:extLst>
                  <a:ext uri="{FF2B5EF4-FFF2-40B4-BE49-F238E27FC236}">
                    <a16:creationId xmlns:a16="http://schemas.microsoft.com/office/drawing/2014/main" id="{6B04AACF-1092-40C8-AC25-A0680CE3CDFD}"/>
                  </a:ext>
                </a:extLst>
              </p:cNvPr>
              <p:cNvGrpSpPr/>
              <p:nvPr/>
            </p:nvGrpSpPr>
            <p:grpSpPr>
              <a:xfrm>
                <a:off x="495904" y="5839118"/>
                <a:ext cx="1438991" cy="478482"/>
                <a:chOff x="496203" y="5840320"/>
                <a:chExt cx="1420081" cy="472193"/>
              </a:xfrm>
            </p:grpSpPr>
            <p:pic>
              <p:nvPicPr>
                <p:cNvPr id="24" name="Picture 23" descr="A picture containing shape&#10;&#10;Description automatically generated">
                  <a:extLst>
                    <a:ext uri="{FF2B5EF4-FFF2-40B4-BE49-F238E27FC236}">
                      <a16:creationId xmlns:a16="http://schemas.microsoft.com/office/drawing/2014/main" id="{F8360299-864C-404E-AB0C-F5C8AED588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395" y="5840320"/>
                  <a:ext cx="1370883" cy="472193"/>
                </a:xfrm>
                <a:prstGeom prst="rect">
                  <a:avLst/>
                </a:prstGeom>
              </p:spPr>
            </p:pic>
            <p:sp>
              <p:nvSpPr>
                <p:cNvPr id="25" name="TextBox 24">
                  <a:extLst>
                    <a:ext uri="{FF2B5EF4-FFF2-40B4-BE49-F238E27FC236}">
                      <a16:creationId xmlns:a16="http://schemas.microsoft.com/office/drawing/2014/main" id="{3B53B189-CB00-4F8B-94E1-BFE4C3D4CF22}"/>
                    </a:ext>
                  </a:extLst>
                </p:cNvPr>
                <p:cNvSpPr txBox="1"/>
                <p:nvPr/>
              </p:nvSpPr>
              <p:spPr>
                <a:xfrm>
                  <a:off x="496203" y="5860897"/>
                  <a:ext cx="1420081" cy="440412"/>
                </a:xfrm>
                <a:prstGeom prst="rect">
                  <a:avLst/>
                </a:prstGeom>
                <a:noFill/>
              </p:spPr>
              <p:txBody>
                <a:bodyPr wrap="square" rtlCol="0">
                  <a:spAutoFit/>
                </a:bodyPr>
                <a:lstStyle/>
                <a:p>
                  <a:pPr algn="ctr"/>
                  <a:r>
                    <a:rPr lang="en-US" sz="1150" b="1" i="0" dirty="0">
                      <a:effectLst/>
                      <a:latin typeface="Calibri" panose="020F0502020204030204" pitchFamily="34" charset="0"/>
                    </a:rPr>
                    <a:t>Criminals and </a:t>
                  </a:r>
                </a:p>
                <a:p>
                  <a:pPr algn="ctr"/>
                  <a:r>
                    <a:rPr lang="en-US" sz="1150" b="1" i="0" dirty="0">
                      <a:effectLst/>
                      <a:latin typeface="Calibri" panose="020F0502020204030204" pitchFamily="34" charset="0"/>
                    </a:rPr>
                    <a:t>Gangs</a:t>
                  </a:r>
                  <a:endParaRPr lang="en-US" sz="1150" b="1" dirty="0"/>
                </a:p>
              </p:txBody>
            </p:sp>
          </p:grpSp>
        </p:grpSp>
        <p:grpSp>
          <p:nvGrpSpPr>
            <p:cNvPr id="32" name="Group 31">
              <a:extLst>
                <a:ext uri="{FF2B5EF4-FFF2-40B4-BE49-F238E27FC236}">
                  <a16:creationId xmlns:a16="http://schemas.microsoft.com/office/drawing/2014/main" id="{30EE5A4C-635D-4D01-B275-13D8519770BF}"/>
                </a:ext>
              </a:extLst>
            </p:cNvPr>
            <p:cNvGrpSpPr/>
            <p:nvPr/>
          </p:nvGrpSpPr>
          <p:grpSpPr>
            <a:xfrm>
              <a:off x="3859702" y="5072829"/>
              <a:ext cx="1457473" cy="1393486"/>
              <a:chOff x="486852" y="4924086"/>
              <a:chExt cx="1457473" cy="1393486"/>
            </a:xfrm>
          </p:grpSpPr>
          <p:grpSp>
            <p:nvGrpSpPr>
              <p:cNvPr id="33" name="Group 32">
                <a:extLst>
                  <a:ext uri="{FF2B5EF4-FFF2-40B4-BE49-F238E27FC236}">
                    <a16:creationId xmlns:a16="http://schemas.microsoft.com/office/drawing/2014/main" id="{5120C243-E12F-4B2B-87A4-B824758B12CA}"/>
                  </a:ext>
                </a:extLst>
              </p:cNvPr>
              <p:cNvGrpSpPr/>
              <p:nvPr/>
            </p:nvGrpSpPr>
            <p:grpSpPr>
              <a:xfrm>
                <a:off x="486852" y="4924086"/>
                <a:ext cx="1457473" cy="966931"/>
                <a:chOff x="486852" y="4924086"/>
                <a:chExt cx="1457473" cy="966931"/>
              </a:xfrm>
            </p:grpSpPr>
            <p:sp>
              <p:nvSpPr>
                <p:cNvPr id="37" name="TextBox 36">
                  <a:extLst>
                    <a:ext uri="{FF2B5EF4-FFF2-40B4-BE49-F238E27FC236}">
                      <a16:creationId xmlns:a16="http://schemas.microsoft.com/office/drawing/2014/main" id="{D5654861-BFC4-4C71-933A-0BBF89541696}"/>
                    </a:ext>
                  </a:extLst>
                </p:cNvPr>
                <p:cNvSpPr txBox="1"/>
                <p:nvPr userDrawn="1"/>
              </p:nvSpPr>
              <p:spPr>
                <a:xfrm rot="16200000">
                  <a:off x="703788" y="5186178"/>
                  <a:ext cx="785793" cy="261610"/>
                </a:xfrm>
                <a:prstGeom prst="rect">
                  <a:avLst/>
                </a:prstGeom>
                <a:noFill/>
              </p:spPr>
              <p:txBody>
                <a:bodyPr wrap="none" rtlCol="0">
                  <a:spAutoFit/>
                </a:bodyPr>
                <a:lstStyle/>
                <a:p>
                  <a:pPr algn="r"/>
                  <a:r>
                    <a:rPr lang="en-US" sz="1050" b="1" dirty="0"/>
                    <a:t>South East</a:t>
                  </a:r>
                </a:p>
              </p:txBody>
            </p:sp>
            <p:sp>
              <p:nvSpPr>
                <p:cNvPr id="38" name="TextBox 37">
                  <a:extLst>
                    <a:ext uri="{FF2B5EF4-FFF2-40B4-BE49-F238E27FC236}">
                      <a16:creationId xmlns:a16="http://schemas.microsoft.com/office/drawing/2014/main" id="{0966B5CF-B8DB-47B4-9AAF-68C8C3514EF1}"/>
                    </a:ext>
                  </a:extLst>
                </p:cNvPr>
                <p:cNvSpPr txBox="1"/>
                <p:nvPr userDrawn="1"/>
              </p:nvSpPr>
              <p:spPr>
                <a:xfrm rot="16200000">
                  <a:off x="854439" y="5276747"/>
                  <a:ext cx="966931" cy="261610"/>
                </a:xfrm>
                <a:prstGeom prst="rect">
                  <a:avLst/>
                </a:prstGeom>
                <a:noFill/>
              </p:spPr>
              <p:txBody>
                <a:bodyPr wrap="none" rtlCol="0">
                  <a:spAutoFit/>
                </a:bodyPr>
                <a:lstStyle/>
                <a:p>
                  <a:pPr algn="r"/>
                  <a:r>
                    <a:rPr lang="en-US" sz="1050" b="1" dirty="0"/>
                    <a:t>North Central</a:t>
                  </a:r>
                </a:p>
              </p:txBody>
            </p:sp>
            <p:sp>
              <p:nvSpPr>
                <p:cNvPr id="39" name="TextBox 38">
                  <a:extLst>
                    <a:ext uri="{FF2B5EF4-FFF2-40B4-BE49-F238E27FC236}">
                      <a16:creationId xmlns:a16="http://schemas.microsoft.com/office/drawing/2014/main" id="{CB4DA268-1AE5-4785-A264-A5E8B4841F5F}"/>
                    </a:ext>
                  </a:extLst>
                </p:cNvPr>
                <p:cNvSpPr txBox="1"/>
                <p:nvPr userDrawn="1"/>
              </p:nvSpPr>
              <p:spPr>
                <a:xfrm rot="16200000">
                  <a:off x="1151558" y="5217436"/>
                  <a:ext cx="848309" cy="261610"/>
                </a:xfrm>
                <a:prstGeom prst="rect">
                  <a:avLst/>
                </a:prstGeom>
                <a:noFill/>
              </p:spPr>
              <p:txBody>
                <a:bodyPr wrap="none" rtlCol="0">
                  <a:spAutoFit/>
                </a:bodyPr>
                <a:lstStyle/>
                <a:p>
                  <a:pPr algn="r"/>
                  <a:r>
                    <a:rPr lang="en-US" sz="1050" b="1" dirty="0"/>
                    <a:t>North West</a:t>
                  </a:r>
                </a:p>
              </p:txBody>
            </p:sp>
            <p:sp>
              <p:nvSpPr>
                <p:cNvPr id="40" name="TextBox 39">
                  <a:extLst>
                    <a:ext uri="{FF2B5EF4-FFF2-40B4-BE49-F238E27FC236}">
                      <a16:creationId xmlns:a16="http://schemas.microsoft.com/office/drawing/2014/main" id="{45028859-598D-470A-9841-E2532195F59B}"/>
                    </a:ext>
                  </a:extLst>
                </p:cNvPr>
                <p:cNvSpPr txBox="1"/>
                <p:nvPr userDrawn="1"/>
              </p:nvSpPr>
              <p:spPr>
                <a:xfrm rot="16200000">
                  <a:off x="1419020" y="5187781"/>
                  <a:ext cx="788999" cy="261610"/>
                </a:xfrm>
                <a:prstGeom prst="rect">
                  <a:avLst/>
                </a:prstGeom>
                <a:noFill/>
              </p:spPr>
              <p:txBody>
                <a:bodyPr wrap="none" rtlCol="0">
                  <a:spAutoFit/>
                </a:bodyPr>
                <a:lstStyle/>
                <a:p>
                  <a:pPr algn="r"/>
                  <a:r>
                    <a:rPr lang="en-US" sz="1050" b="1" dirty="0"/>
                    <a:t>North East</a:t>
                  </a:r>
                </a:p>
              </p:txBody>
            </p:sp>
            <p:sp>
              <p:nvSpPr>
                <p:cNvPr id="41" name="TextBox 40">
                  <a:extLst>
                    <a:ext uri="{FF2B5EF4-FFF2-40B4-BE49-F238E27FC236}">
                      <a16:creationId xmlns:a16="http://schemas.microsoft.com/office/drawing/2014/main" id="{F638AA32-8713-4915-8CB0-370EB2D276F3}"/>
                    </a:ext>
                  </a:extLst>
                </p:cNvPr>
                <p:cNvSpPr txBox="1"/>
                <p:nvPr userDrawn="1"/>
              </p:nvSpPr>
              <p:spPr>
                <a:xfrm rot="16200000">
                  <a:off x="177472" y="5233466"/>
                  <a:ext cx="880369" cy="261610"/>
                </a:xfrm>
                <a:prstGeom prst="rect">
                  <a:avLst/>
                </a:prstGeom>
                <a:noFill/>
              </p:spPr>
              <p:txBody>
                <a:bodyPr wrap="none" rtlCol="0">
                  <a:spAutoFit/>
                </a:bodyPr>
                <a:lstStyle/>
                <a:p>
                  <a:pPr algn="r"/>
                  <a:r>
                    <a:rPr lang="en-US" sz="1050" b="1" dirty="0"/>
                    <a:t>South South</a:t>
                  </a:r>
                </a:p>
              </p:txBody>
            </p:sp>
            <p:sp>
              <p:nvSpPr>
                <p:cNvPr id="42" name="TextBox 41">
                  <a:extLst>
                    <a:ext uri="{FF2B5EF4-FFF2-40B4-BE49-F238E27FC236}">
                      <a16:creationId xmlns:a16="http://schemas.microsoft.com/office/drawing/2014/main" id="{601E5DB3-85EB-4B03-B1C0-7E47128AAEA6}"/>
                    </a:ext>
                  </a:extLst>
                </p:cNvPr>
                <p:cNvSpPr txBox="1"/>
                <p:nvPr userDrawn="1"/>
              </p:nvSpPr>
              <p:spPr>
                <a:xfrm rot="16200000">
                  <a:off x="436325" y="5215833"/>
                  <a:ext cx="845103" cy="261610"/>
                </a:xfrm>
                <a:prstGeom prst="rect">
                  <a:avLst/>
                </a:prstGeom>
                <a:noFill/>
              </p:spPr>
              <p:txBody>
                <a:bodyPr wrap="none" rtlCol="0">
                  <a:spAutoFit/>
                </a:bodyPr>
                <a:lstStyle/>
                <a:p>
                  <a:pPr algn="r"/>
                  <a:r>
                    <a:rPr lang="en-US" sz="1050" b="1" dirty="0"/>
                    <a:t>South West</a:t>
                  </a:r>
                </a:p>
              </p:txBody>
            </p:sp>
          </p:grpSp>
          <p:grpSp>
            <p:nvGrpSpPr>
              <p:cNvPr id="34" name="Group 33">
                <a:extLst>
                  <a:ext uri="{FF2B5EF4-FFF2-40B4-BE49-F238E27FC236}">
                    <a16:creationId xmlns:a16="http://schemas.microsoft.com/office/drawing/2014/main" id="{4675F1A6-30CE-4A70-98F5-CCB576DB2851}"/>
                  </a:ext>
                </a:extLst>
              </p:cNvPr>
              <p:cNvGrpSpPr/>
              <p:nvPr/>
            </p:nvGrpSpPr>
            <p:grpSpPr>
              <a:xfrm>
                <a:off x="518579" y="5839092"/>
                <a:ext cx="1408406" cy="478480"/>
                <a:chOff x="518580" y="5840320"/>
                <a:chExt cx="1389898" cy="472193"/>
              </a:xfrm>
            </p:grpSpPr>
            <p:pic>
              <p:nvPicPr>
                <p:cNvPr id="35" name="Picture 34" descr="A picture containing shape&#10;&#10;Description automatically generated">
                  <a:extLst>
                    <a:ext uri="{FF2B5EF4-FFF2-40B4-BE49-F238E27FC236}">
                      <a16:creationId xmlns:a16="http://schemas.microsoft.com/office/drawing/2014/main" id="{96462893-A425-4CCA-B713-CB85F2EE38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395" y="5840320"/>
                  <a:ext cx="1370883" cy="472193"/>
                </a:xfrm>
                <a:prstGeom prst="rect">
                  <a:avLst/>
                </a:prstGeom>
              </p:spPr>
            </p:pic>
            <p:sp>
              <p:nvSpPr>
                <p:cNvPr id="36" name="TextBox 35">
                  <a:extLst>
                    <a:ext uri="{FF2B5EF4-FFF2-40B4-BE49-F238E27FC236}">
                      <a16:creationId xmlns:a16="http://schemas.microsoft.com/office/drawing/2014/main" id="{C311AF01-C793-445F-9684-16DBBAB07AE9}"/>
                    </a:ext>
                  </a:extLst>
                </p:cNvPr>
                <p:cNvSpPr txBox="1"/>
                <p:nvPr/>
              </p:nvSpPr>
              <p:spPr>
                <a:xfrm>
                  <a:off x="518580" y="5933814"/>
                  <a:ext cx="1389898" cy="269304"/>
                </a:xfrm>
                <a:prstGeom prst="rect">
                  <a:avLst/>
                </a:prstGeom>
                <a:noFill/>
              </p:spPr>
              <p:txBody>
                <a:bodyPr wrap="square" rtlCol="0">
                  <a:spAutoFit/>
                </a:bodyPr>
                <a:lstStyle/>
                <a:p>
                  <a:pPr algn="ctr"/>
                  <a:r>
                    <a:rPr lang="en-US" sz="1150" b="1" i="0" dirty="0">
                      <a:effectLst/>
                      <a:latin typeface="Calibri" panose="020F0502020204030204" pitchFamily="34" charset="0"/>
                    </a:rPr>
                    <a:t>IPOB</a:t>
                  </a:r>
                  <a:endParaRPr lang="en-US" sz="1150" b="1" dirty="0"/>
                </a:p>
              </p:txBody>
            </p:sp>
          </p:grpSp>
        </p:grpSp>
        <p:grpSp>
          <p:nvGrpSpPr>
            <p:cNvPr id="43" name="Group 42">
              <a:extLst>
                <a:ext uri="{FF2B5EF4-FFF2-40B4-BE49-F238E27FC236}">
                  <a16:creationId xmlns:a16="http://schemas.microsoft.com/office/drawing/2014/main" id="{9569A1EC-9E39-4B41-9ED4-490402D1F4A6}"/>
                </a:ext>
              </a:extLst>
            </p:cNvPr>
            <p:cNvGrpSpPr/>
            <p:nvPr/>
          </p:nvGrpSpPr>
          <p:grpSpPr>
            <a:xfrm>
              <a:off x="5485083" y="5072829"/>
              <a:ext cx="1457473" cy="1393486"/>
              <a:chOff x="486852" y="4924086"/>
              <a:chExt cx="1457473" cy="1393486"/>
            </a:xfrm>
          </p:grpSpPr>
          <p:grpSp>
            <p:nvGrpSpPr>
              <p:cNvPr id="44" name="Group 43">
                <a:extLst>
                  <a:ext uri="{FF2B5EF4-FFF2-40B4-BE49-F238E27FC236}">
                    <a16:creationId xmlns:a16="http://schemas.microsoft.com/office/drawing/2014/main" id="{D9357122-72EB-4346-8914-1299D527C874}"/>
                  </a:ext>
                </a:extLst>
              </p:cNvPr>
              <p:cNvGrpSpPr/>
              <p:nvPr/>
            </p:nvGrpSpPr>
            <p:grpSpPr>
              <a:xfrm>
                <a:off x="486852" y="4924086"/>
                <a:ext cx="1457473" cy="966931"/>
                <a:chOff x="486852" y="4924086"/>
                <a:chExt cx="1457473" cy="966931"/>
              </a:xfrm>
            </p:grpSpPr>
            <p:sp>
              <p:nvSpPr>
                <p:cNvPr id="48" name="TextBox 47">
                  <a:extLst>
                    <a:ext uri="{FF2B5EF4-FFF2-40B4-BE49-F238E27FC236}">
                      <a16:creationId xmlns:a16="http://schemas.microsoft.com/office/drawing/2014/main" id="{49D4ACA7-FA1B-4FFC-AC1E-EB76D97E1D19}"/>
                    </a:ext>
                  </a:extLst>
                </p:cNvPr>
                <p:cNvSpPr txBox="1"/>
                <p:nvPr userDrawn="1"/>
              </p:nvSpPr>
              <p:spPr>
                <a:xfrm rot="16200000">
                  <a:off x="703788" y="5186178"/>
                  <a:ext cx="785793" cy="261610"/>
                </a:xfrm>
                <a:prstGeom prst="rect">
                  <a:avLst/>
                </a:prstGeom>
                <a:noFill/>
              </p:spPr>
              <p:txBody>
                <a:bodyPr wrap="none" rtlCol="0">
                  <a:spAutoFit/>
                </a:bodyPr>
                <a:lstStyle/>
                <a:p>
                  <a:pPr algn="r"/>
                  <a:r>
                    <a:rPr lang="en-US" sz="1050" b="1" dirty="0"/>
                    <a:t>South East</a:t>
                  </a:r>
                </a:p>
              </p:txBody>
            </p:sp>
            <p:sp>
              <p:nvSpPr>
                <p:cNvPr id="49" name="TextBox 48">
                  <a:extLst>
                    <a:ext uri="{FF2B5EF4-FFF2-40B4-BE49-F238E27FC236}">
                      <a16:creationId xmlns:a16="http://schemas.microsoft.com/office/drawing/2014/main" id="{2FF879BB-B67B-4853-9733-ED03F2B584DF}"/>
                    </a:ext>
                  </a:extLst>
                </p:cNvPr>
                <p:cNvSpPr txBox="1"/>
                <p:nvPr userDrawn="1"/>
              </p:nvSpPr>
              <p:spPr>
                <a:xfrm rot="16200000">
                  <a:off x="854439" y="5276747"/>
                  <a:ext cx="966931" cy="261610"/>
                </a:xfrm>
                <a:prstGeom prst="rect">
                  <a:avLst/>
                </a:prstGeom>
                <a:noFill/>
              </p:spPr>
              <p:txBody>
                <a:bodyPr wrap="none" rtlCol="0">
                  <a:spAutoFit/>
                </a:bodyPr>
                <a:lstStyle/>
                <a:p>
                  <a:pPr algn="r"/>
                  <a:r>
                    <a:rPr lang="en-US" sz="1050" b="1" dirty="0"/>
                    <a:t>North Central</a:t>
                  </a:r>
                </a:p>
              </p:txBody>
            </p:sp>
            <p:sp>
              <p:nvSpPr>
                <p:cNvPr id="50" name="TextBox 49">
                  <a:extLst>
                    <a:ext uri="{FF2B5EF4-FFF2-40B4-BE49-F238E27FC236}">
                      <a16:creationId xmlns:a16="http://schemas.microsoft.com/office/drawing/2014/main" id="{C513F730-170F-4477-BD06-92877AD564AE}"/>
                    </a:ext>
                  </a:extLst>
                </p:cNvPr>
                <p:cNvSpPr txBox="1"/>
                <p:nvPr userDrawn="1"/>
              </p:nvSpPr>
              <p:spPr>
                <a:xfrm rot="16200000">
                  <a:off x="1151558" y="5217436"/>
                  <a:ext cx="848309" cy="261610"/>
                </a:xfrm>
                <a:prstGeom prst="rect">
                  <a:avLst/>
                </a:prstGeom>
                <a:noFill/>
              </p:spPr>
              <p:txBody>
                <a:bodyPr wrap="none" rtlCol="0">
                  <a:spAutoFit/>
                </a:bodyPr>
                <a:lstStyle/>
                <a:p>
                  <a:pPr algn="r"/>
                  <a:r>
                    <a:rPr lang="en-US" sz="1050" b="1" dirty="0"/>
                    <a:t>North West</a:t>
                  </a:r>
                </a:p>
              </p:txBody>
            </p:sp>
            <p:sp>
              <p:nvSpPr>
                <p:cNvPr id="51" name="TextBox 50">
                  <a:extLst>
                    <a:ext uri="{FF2B5EF4-FFF2-40B4-BE49-F238E27FC236}">
                      <a16:creationId xmlns:a16="http://schemas.microsoft.com/office/drawing/2014/main" id="{004523D9-F341-4C3B-985C-DFB632453824}"/>
                    </a:ext>
                  </a:extLst>
                </p:cNvPr>
                <p:cNvSpPr txBox="1"/>
                <p:nvPr userDrawn="1"/>
              </p:nvSpPr>
              <p:spPr>
                <a:xfrm rot="16200000">
                  <a:off x="1419020" y="5187781"/>
                  <a:ext cx="788999" cy="261610"/>
                </a:xfrm>
                <a:prstGeom prst="rect">
                  <a:avLst/>
                </a:prstGeom>
                <a:noFill/>
              </p:spPr>
              <p:txBody>
                <a:bodyPr wrap="none" rtlCol="0">
                  <a:spAutoFit/>
                </a:bodyPr>
                <a:lstStyle/>
                <a:p>
                  <a:pPr algn="r"/>
                  <a:r>
                    <a:rPr lang="en-US" sz="1050" b="1" dirty="0"/>
                    <a:t>North East</a:t>
                  </a:r>
                </a:p>
              </p:txBody>
            </p:sp>
            <p:sp>
              <p:nvSpPr>
                <p:cNvPr id="52" name="TextBox 51">
                  <a:extLst>
                    <a:ext uri="{FF2B5EF4-FFF2-40B4-BE49-F238E27FC236}">
                      <a16:creationId xmlns:a16="http://schemas.microsoft.com/office/drawing/2014/main" id="{D8AE2C37-F8E7-44DC-AC50-B0378897B745}"/>
                    </a:ext>
                  </a:extLst>
                </p:cNvPr>
                <p:cNvSpPr txBox="1"/>
                <p:nvPr userDrawn="1"/>
              </p:nvSpPr>
              <p:spPr>
                <a:xfrm rot="16200000">
                  <a:off x="177472" y="5233466"/>
                  <a:ext cx="880369" cy="261610"/>
                </a:xfrm>
                <a:prstGeom prst="rect">
                  <a:avLst/>
                </a:prstGeom>
                <a:noFill/>
              </p:spPr>
              <p:txBody>
                <a:bodyPr wrap="none" rtlCol="0">
                  <a:spAutoFit/>
                </a:bodyPr>
                <a:lstStyle/>
                <a:p>
                  <a:pPr algn="r"/>
                  <a:r>
                    <a:rPr lang="en-US" sz="1050" b="1" dirty="0"/>
                    <a:t>South South</a:t>
                  </a:r>
                </a:p>
              </p:txBody>
            </p:sp>
            <p:sp>
              <p:nvSpPr>
                <p:cNvPr id="53" name="TextBox 52">
                  <a:extLst>
                    <a:ext uri="{FF2B5EF4-FFF2-40B4-BE49-F238E27FC236}">
                      <a16:creationId xmlns:a16="http://schemas.microsoft.com/office/drawing/2014/main" id="{2CF6591A-DD78-4F46-9739-12AB50574EA1}"/>
                    </a:ext>
                  </a:extLst>
                </p:cNvPr>
                <p:cNvSpPr txBox="1"/>
                <p:nvPr userDrawn="1"/>
              </p:nvSpPr>
              <p:spPr>
                <a:xfrm rot="16200000">
                  <a:off x="436325" y="5215833"/>
                  <a:ext cx="845103" cy="261610"/>
                </a:xfrm>
                <a:prstGeom prst="rect">
                  <a:avLst/>
                </a:prstGeom>
                <a:noFill/>
              </p:spPr>
              <p:txBody>
                <a:bodyPr wrap="none" rtlCol="0">
                  <a:spAutoFit/>
                </a:bodyPr>
                <a:lstStyle/>
                <a:p>
                  <a:pPr algn="r"/>
                  <a:r>
                    <a:rPr lang="en-US" sz="1050" b="1" dirty="0"/>
                    <a:t>South West</a:t>
                  </a:r>
                </a:p>
              </p:txBody>
            </p:sp>
          </p:grpSp>
          <p:grpSp>
            <p:nvGrpSpPr>
              <p:cNvPr id="45" name="Group 44">
                <a:extLst>
                  <a:ext uri="{FF2B5EF4-FFF2-40B4-BE49-F238E27FC236}">
                    <a16:creationId xmlns:a16="http://schemas.microsoft.com/office/drawing/2014/main" id="{6F4E0524-B380-449A-9FA9-5E241E22B077}"/>
                  </a:ext>
                </a:extLst>
              </p:cNvPr>
              <p:cNvGrpSpPr/>
              <p:nvPr/>
            </p:nvGrpSpPr>
            <p:grpSpPr>
              <a:xfrm>
                <a:off x="518579" y="5839092"/>
                <a:ext cx="1408406" cy="478480"/>
                <a:chOff x="518580" y="5840320"/>
                <a:chExt cx="1389898" cy="472193"/>
              </a:xfrm>
            </p:grpSpPr>
            <p:pic>
              <p:nvPicPr>
                <p:cNvPr id="46" name="Picture 45" descr="A picture containing shape&#10;&#10;Description automatically generated">
                  <a:extLst>
                    <a:ext uri="{FF2B5EF4-FFF2-40B4-BE49-F238E27FC236}">
                      <a16:creationId xmlns:a16="http://schemas.microsoft.com/office/drawing/2014/main" id="{EB188E98-B5C8-45B4-9549-4DBD25CFA5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395" y="5840320"/>
                  <a:ext cx="1370883" cy="472193"/>
                </a:xfrm>
                <a:prstGeom prst="rect">
                  <a:avLst/>
                </a:prstGeom>
              </p:spPr>
            </p:pic>
            <p:sp>
              <p:nvSpPr>
                <p:cNvPr id="47" name="TextBox 46">
                  <a:extLst>
                    <a:ext uri="{FF2B5EF4-FFF2-40B4-BE49-F238E27FC236}">
                      <a16:creationId xmlns:a16="http://schemas.microsoft.com/office/drawing/2014/main" id="{583DA18E-573F-4364-90EA-82ACB88B5140}"/>
                    </a:ext>
                  </a:extLst>
                </p:cNvPr>
                <p:cNvSpPr txBox="1"/>
                <p:nvPr/>
              </p:nvSpPr>
              <p:spPr>
                <a:xfrm>
                  <a:off x="518580" y="5862342"/>
                  <a:ext cx="1389898" cy="440412"/>
                </a:xfrm>
                <a:prstGeom prst="rect">
                  <a:avLst/>
                </a:prstGeom>
                <a:noFill/>
              </p:spPr>
              <p:txBody>
                <a:bodyPr wrap="square" rtlCol="0">
                  <a:spAutoFit/>
                </a:bodyPr>
                <a:lstStyle/>
                <a:p>
                  <a:pPr algn="ctr"/>
                  <a:r>
                    <a:rPr lang="en-US" sz="1150" b="1" i="0" dirty="0">
                      <a:effectLst/>
                      <a:latin typeface="Calibri" panose="020F0502020204030204" pitchFamily="34" charset="0"/>
                    </a:rPr>
                    <a:t>Herder / Farmer Clashes</a:t>
                  </a:r>
                  <a:endParaRPr lang="en-US" sz="1150" b="1" dirty="0"/>
                </a:p>
              </p:txBody>
            </p:sp>
          </p:grpSp>
        </p:grpSp>
        <p:grpSp>
          <p:nvGrpSpPr>
            <p:cNvPr id="54" name="Group 53">
              <a:extLst>
                <a:ext uri="{FF2B5EF4-FFF2-40B4-BE49-F238E27FC236}">
                  <a16:creationId xmlns:a16="http://schemas.microsoft.com/office/drawing/2014/main" id="{637B4DB0-A106-461A-8C8C-21A10F85BB1D}"/>
                </a:ext>
              </a:extLst>
            </p:cNvPr>
            <p:cNvGrpSpPr/>
            <p:nvPr/>
          </p:nvGrpSpPr>
          <p:grpSpPr>
            <a:xfrm>
              <a:off x="7110356" y="5072829"/>
              <a:ext cx="1457473" cy="1393486"/>
              <a:chOff x="486852" y="4924086"/>
              <a:chExt cx="1457473" cy="1393486"/>
            </a:xfrm>
          </p:grpSpPr>
          <p:grpSp>
            <p:nvGrpSpPr>
              <p:cNvPr id="55" name="Group 54">
                <a:extLst>
                  <a:ext uri="{FF2B5EF4-FFF2-40B4-BE49-F238E27FC236}">
                    <a16:creationId xmlns:a16="http://schemas.microsoft.com/office/drawing/2014/main" id="{7340497B-F1E4-4830-9E75-B1A80B16A30A}"/>
                  </a:ext>
                </a:extLst>
              </p:cNvPr>
              <p:cNvGrpSpPr/>
              <p:nvPr/>
            </p:nvGrpSpPr>
            <p:grpSpPr>
              <a:xfrm>
                <a:off x="486852" y="4924086"/>
                <a:ext cx="1457473" cy="966931"/>
                <a:chOff x="486852" y="4924086"/>
                <a:chExt cx="1457473" cy="966931"/>
              </a:xfrm>
            </p:grpSpPr>
            <p:sp>
              <p:nvSpPr>
                <p:cNvPr id="59" name="TextBox 58">
                  <a:extLst>
                    <a:ext uri="{FF2B5EF4-FFF2-40B4-BE49-F238E27FC236}">
                      <a16:creationId xmlns:a16="http://schemas.microsoft.com/office/drawing/2014/main" id="{6149B125-51E9-40A3-90E1-C09AB3B2D30D}"/>
                    </a:ext>
                  </a:extLst>
                </p:cNvPr>
                <p:cNvSpPr txBox="1"/>
                <p:nvPr userDrawn="1"/>
              </p:nvSpPr>
              <p:spPr>
                <a:xfrm rot="16200000">
                  <a:off x="703788" y="5186178"/>
                  <a:ext cx="785793" cy="261610"/>
                </a:xfrm>
                <a:prstGeom prst="rect">
                  <a:avLst/>
                </a:prstGeom>
                <a:noFill/>
              </p:spPr>
              <p:txBody>
                <a:bodyPr wrap="none" rtlCol="0">
                  <a:spAutoFit/>
                </a:bodyPr>
                <a:lstStyle/>
                <a:p>
                  <a:pPr algn="r"/>
                  <a:r>
                    <a:rPr lang="en-US" sz="1050" b="1" dirty="0"/>
                    <a:t>South East</a:t>
                  </a:r>
                </a:p>
              </p:txBody>
            </p:sp>
            <p:sp>
              <p:nvSpPr>
                <p:cNvPr id="60" name="TextBox 59">
                  <a:extLst>
                    <a:ext uri="{FF2B5EF4-FFF2-40B4-BE49-F238E27FC236}">
                      <a16:creationId xmlns:a16="http://schemas.microsoft.com/office/drawing/2014/main" id="{4E7604C7-9243-4980-8981-05165AC9C4B5}"/>
                    </a:ext>
                  </a:extLst>
                </p:cNvPr>
                <p:cNvSpPr txBox="1"/>
                <p:nvPr userDrawn="1"/>
              </p:nvSpPr>
              <p:spPr>
                <a:xfrm rot="16200000">
                  <a:off x="854439" y="5276747"/>
                  <a:ext cx="966931" cy="261610"/>
                </a:xfrm>
                <a:prstGeom prst="rect">
                  <a:avLst/>
                </a:prstGeom>
                <a:noFill/>
              </p:spPr>
              <p:txBody>
                <a:bodyPr wrap="none" rtlCol="0">
                  <a:spAutoFit/>
                </a:bodyPr>
                <a:lstStyle/>
                <a:p>
                  <a:pPr algn="r"/>
                  <a:r>
                    <a:rPr lang="en-US" sz="1050" b="1" dirty="0"/>
                    <a:t>North Central</a:t>
                  </a:r>
                </a:p>
              </p:txBody>
            </p:sp>
            <p:sp>
              <p:nvSpPr>
                <p:cNvPr id="61" name="TextBox 60">
                  <a:extLst>
                    <a:ext uri="{FF2B5EF4-FFF2-40B4-BE49-F238E27FC236}">
                      <a16:creationId xmlns:a16="http://schemas.microsoft.com/office/drawing/2014/main" id="{E3538518-AC6E-4036-A5FE-9E555DD6FFF8}"/>
                    </a:ext>
                  </a:extLst>
                </p:cNvPr>
                <p:cNvSpPr txBox="1"/>
                <p:nvPr userDrawn="1"/>
              </p:nvSpPr>
              <p:spPr>
                <a:xfrm rot="16200000">
                  <a:off x="1151558" y="5217436"/>
                  <a:ext cx="848309" cy="261610"/>
                </a:xfrm>
                <a:prstGeom prst="rect">
                  <a:avLst/>
                </a:prstGeom>
                <a:noFill/>
              </p:spPr>
              <p:txBody>
                <a:bodyPr wrap="none" rtlCol="0">
                  <a:spAutoFit/>
                </a:bodyPr>
                <a:lstStyle/>
                <a:p>
                  <a:pPr algn="r"/>
                  <a:r>
                    <a:rPr lang="en-US" sz="1050" b="1" dirty="0"/>
                    <a:t>North West</a:t>
                  </a:r>
                </a:p>
              </p:txBody>
            </p:sp>
            <p:sp>
              <p:nvSpPr>
                <p:cNvPr id="62" name="TextBox 61">
                  <a:extLst>
                    <a:ext uri="{FF2B5EF4-FFF2-40B4-BE49-F238E27FC236}">
                      <a16:creationId xmlns:a16="http://schemas.microsoft.com/office/drawing/2014/main" id="{8CC304FA-3B57-4222-99CB-F334D9FBF4B0}"/>
                    </a:ext>
                  </a:extLst>
                </p:cNvPr>
                <p:cNvSpPr txBox="1"/>
                <p:nvPr userDrawn="1"/>
              </p:nvSpPr>
              <p:spPr>
                <a:xfrm rot="16200000">
                  <a:off x="1419020" y="5187781"/>
                  <a:ext cx="788999" cy="261610"/>
                </a:xfrm>
                <a:prstGeom prst="rect">
                  <a:avLst/>
                </a:prstGeom>
                <a:noFill/>
              </p:spPr>
              <p:txBody>
                <a:bodyPr wrap="none" rtlCol="0">
                  <a:spAutoFit/>
                </a:bodyPr>
                <a:lstStyle/>
                <a:p>
                  <a:pPr algn="r"/>
                  <a:r>
                    <a:rPr lang="en-US" sz="1050" b="1" dirty="0"/>
                    <a:t>North East</a:t>
                  </a:r>
                </a:p>
              </p:txBody>
            </p:sp>
            <p:sp>
              <p:nvSpPr>
                <p:cNvPr id="63" name="TextBox 62">
                  <a:extLst>
                    <a:ext uri="{FF2B5EF4-FFF2-40B4-BE49-F238E27FC236}">
                      <a16:creationId xmlns:a16="http://schemas.microsoft.com/office/drawing/2014/main" id="{3164884C-0DBC-4A3E-80B3-CC8201346BE9}"/>
                    </a:ext>
                  </a:extLst>
                </p:cNvPr>
                <p:cNvSpPr txBox="1"/>
                <p:nvPr userDrawn="1"/>
              </p:nvSpPr>
              <p:spPr>
                <a:xfrm rot="16200000">
                  <a:off x="177472" y="5233466"/>
                  <a:ext cx="880369" cy="261610"/>
                </a:xfrm>
                <a:prstGeom prst="rect">
                  <a:avLst/>
                </a:prstGeom>
                <a:noFill/>
              </p:spPr>
              <p:txBody>
                <a:bodyPr wrap="none" rtlCol="0">
                  <a:spAutoFit/>
                </a:bodyPr>
                <a:lstStyle/>
                <a:p>
                  <a:pPr algn="r"/>
                  <a:r>
                    <a:rPr lang="en-US" sz="1050" b="1" dirty="0"/>
                    <a:t>South South</a:t>
                  </a:r>
                </a:p>
              </p:txBody>
            </p:sp>
            <p:sp>
              <p:nvSpPr>
                <p:cNvPr id="64" name="TextBox 63">
                  <a:extLst>
                    <a:ext uri="{FF2B5EF4-FFF2-40B4-BE49-F238E27FC236}">
                      <a16:creationId xmlns:a16="http://schemas.microsoft.com/office/drawing/2014/main" id="{CCF05D7F-E77D-4E90-95E0-1AA6641610A6}"/>
                    </a:ext>
                  </a:extLst>
                </p:cNvPr>
                <p:cNvSpPr txBox="1"/>
                <p:nvPr userDrawn="1"/>
              </p:nvSpPr>
              <p:spPr>
                <a:xfrm rot="16200000">
                  <a:off x="436325" y="5215833"/>
                  <a:ext cx="845103" cy="261610"/>
                </a:xfrm>
                <a:prstGeom prst="rect">
                  <a:avLst/>
                </a:prstGeom>
                <a:noFill/>
              </p:spPr>
              <p:txBody>
                <a:bodyPr wrap="none" rtlCol="0">
                  <a:spAutoFit/>
                </a:bodyPr>
                <a:lstStyle/>
                <a:p>
                  <a:pPr algn="r"/>
                  <a:r>
                    <a:rPr lang="en-US" sz="1050" b="1" dirty="0"/>
                    <a:t>South West</a:t>
                  </a:r>
                </a:p>
              </p:txBody>
            </p:sp>
          </p:grpSp>
          <p:grpSp>
            <p:nvGrpSpPr>
              <p:cNvPr id="56" name="Group 55">
                <a:extLst>
                  <a:ext uri="{FF2B5EF4-FFF2-40B4-BE49-F238E27FC236}">
                    <a16:creationId xmlns:a16="http://schemas.microsoft.com/office/drawing/2014/main" id="{25965241-79F3-470F-8C13-568EB35FDC94}"/>
                  </a:ext>
                </a:extLst>
              </p:cNvPr>
              <p:cNvGrpSpPr/>
              <p:nvPr/>
            </p:nvGrpSpPr>
            <p:grpSpPr>
              <a:xfrm>
                <a:off x="518579" y="5839092"/>
                <a:ext cx="1408406" cy="478480"/>
                <a:chOff x="518580" y="5840320"/>
                <a:chExt cx="1389898" cy="472193"/>
              </a:xfrm>
            </p:grpSpPr>
            <p:pic>
              <p:nvPicPr>
                <p:cNvPr id="57" name="Picture 56" descr="A picture containing shape&#10;&#10;Description automatically generated">
                  <a:extLst>
                    <a:ext uri="{FF2B5EF4-FFF2-40B4-BE49-F238E27FC236}">
                      <a16:creationId xmlns:a16="http://schemas.microsoft.com/office/drawing/2014/main" id="{AE2B2BE5-AC84-41E0-ABC4-FB25C61658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395" y="5840320"/>
                  <a:ext cx="1370883" cy="472193"/>
                </a:xfrm>
                <a:prstGeom prst="rect">
                  <a:avLst/>
                </a:prstGeom>
              </p:spPr>
            </p:pic>
            <p:sp>
              <p:nvSpPr>
                <p:cNvPr id="58" name="TextBox 57">
                  <a:extLst>
                    <a:ext uri="{FF2B5EF4-FFF2-40B4-BE49-F238E27FC236}">
                      <a16:creationId xmlns:a16="http://schemas.microsoft.com/office/drawing/2014/main" id="{4B8828D6-90E3-4685-A96F-46A3E5FD47C9}"/>
                    </a:ext>
                  </a:extLst>
                </p:cNvPr>
                <p:cNvSpPr txBox="1"/>
                <p:nvPr/>
              </p:nvSpPr>
              <p:spPr>
                <a:xfrm>
                  <a:off x="518580" y="5933814"/>
                  <a:ext cx="1389898" cy="269304"/>
                </a:xfrm>
                <a:prstGeom prst="rect">
                  <a:avLst/>
                </a:prstGeom>
                <a:noFill/>
              </p:spPr>
              <p:txBody>
                <a:bodyPr wrap="square" rtlCol="0">
                  <a:spAutoFit/>
                </a:bodyPr>
                <a:lstStyle/>
                <a:p>
                  <a:pPr algn="ctr"/>
                  <a:r>
                    <a:rPr lang="en-US" sz="1150" b="1" i="0" dirty="0">
                      <a:effectLst/>
                      <a:latin typeface="Calibri" panose="020F0502020204030204" pitchFamily="34" charset="0"/>
                    </a:rPr>
                    <a:t>Ethnic Militia</a:t>
                  </a:r>
                  <a:endParaRPr lang="en-US" sz="1150" b="1" dirty="0"/>
                </a:p>
              </p:txBody>
            </p:sp>
          </p:grpSp>
        </p:grpSp>
        <p:grpSp>
          <p:nvGrpSpPr>
            <p:cNvPr id="65" name="Group 64">
              <a:extLst>
                <a:ext uri="{FF2B5EF4-FFF2-40B4-BE49-F238E27FC236}">
                  <a16:creationId xmlns:a16="http://schemas.microsoft.com/office/drawing/2014/main" id="{E5683D22-72F1-4D4C-A2FD-F9E5A86CA879}"/>
                </a:ext>
              </a:extLst>
            </p:cNvPr>
            <p:cNvGrpSpPr/>
            <p:nvPr/>
          </p:nvGrpSpPr>
          <p:grpSpPr>
            <a:xfrm>
              <a:off x="8737888" y="5072829"/>
              <a:ext cx="1457473" cy="1393486"/>
              <a:chOff x="486852" y="4924086"/>
              <a:chExt cx="1457473" cy="1393486"/>
            </a:xfrm>
          </p:grpSpPr>
          <p:grpSp>
            <p:nvGrpSpPr>
              <p:cNvPr id="66" name="Group 65">
                <a:extLst>
                  <a:ext uri="{FF2B5EF4-FFF2-40B4-BE49-F238E27FC236}">
                    <a16:creationId xmlns:a16="http://schemas.microsoft.com/office/drawing/2014/main" id="{DDFC4914-26DD-42B9-96DC-D1B6A248A0E0}"/>
                  </a:ext>
                </a:extLst>
              </p:cNvPr>
              <p:cNvGrpSpPr/>
              <p:nvPr/>
            </p:nvGrpSpPr>
            <p:grpSpPr>
              <a:xfrm>
                <a:off x="486852" y="4924086"/>
                <a:ext cx="1457473" cy="966931"/>
                <a:chOff x="486852" y="4924086"/>
                <a:chExt cx="1457473" cy="966931"/>
              </a:xfrm>
            </p:grpSpPr>
            <p:sp>
              <p:nvSpPr>
                <p:cNvPr id="70" name="TextBox 69">
                  <a:extLst>
                    <a:ext uri="{FF2B5EF4-FFF2-40B4-BE49-F238E27FC236}">
                      <a16:creationId xmlns:a16="http://schemas.microsoft.com/office/drawing/2014/main" id="{964446A9-4571-4C1D-BA7D-A4B1A9B8448F}"/>
                    </a:ext>
                  </a:extLst>
                </p:cNvPr>
                <p:cNvSpPr txBox="1"/>
                <p:nvPr userDrawn="1"/>
              </p:nvSpPr>
              <p:spPr>
                <a:xfrm rot="16200000">
                  <a:off x="703788" y="5186178"/>
                  <a:ext cx="785793" cy="261610"/>
                </a:xfrm>
                <a:prstGeom prst="rect">
                  <a:avLst/>
                </a:prstGeom>
                <a:noFill/>
              </p:spPr>
              <p:txBody>
                <a:bodyPr wrap="none" rtlCol="0">
                  <a:spAutoFit/>
                </a:bodyPr>
                <a:lstStyle/>
                <a:p>
                  <a:pPr algn="r"/>
                  <a:r>
                    <a:rPr lang="en-US" sz="1050" b="1" dirty="0"/>
                    <a:t>South East</a:t>
                  </a:r>
                </a:p>
              </p:txBody>
            </p:sp>
            <p:sp>
              <p:nvSpPr>
                <p:cNvPr id="71" name="TextBox 70">
                  <a:extLst>
                    <a:ext uri="{FF2B5EF4-FFF2-40B4-BE49-F238E27FC236}">
                      <a16:creationId xmlns:a16="http://schemas.microsoft.com/office/drawing/2014/main" id="{777CC7BA-B931-498F-ACC3-C7640D0CF1EC}"/>
                    </a:ext>
                  </a:extLst>
                </p:cNvPr>
                <p:cNvSpPr txBox="1"/>
                <p:nvPr userDrawn="1"/>
              </p:nvSpPr>
              <p:spPr>
                <a:xfrm rot="16200000">
                  <a:off x="854439" y="5276747"/>
                  <a:ext cx="966931" cy="261610"/>
                </a:xfrm>
                <a:prstGeom prst="rect">
                  <a:avLst/>
                </a:prstGeom>
                <a:noFill/>
              </p:spPr>
              <p:txBody>
                <a:bodyPr wrap="none" rtlCol="0">
                  <a:spAutoFit/>
                </a:bodyPr>
                <a:lstStyle/>
                <a:p>
                  <a:pPr algn="r"/>
                  <a:r>
                    <a:rPr lang="en-US" sz="1050" b="1" dirty="0"/>
                    <a:t>North Central</a:t>
                  </a:r>
                </a:p>
              </p:txBody>
            </p:sp>
            <p:sp>
              <p:nvSpPr>
                <p:cNvPr id="72" name="TextBox 71">
                  <a:extLst>
                    <a:ext uri="{FF2B5EF4-FFF2-40B4-BE49-F238E27FC236}">
                      <a16:creationId xmlns:a16="http://schemas.microsoft.com/office/drawing/2014/main" id="{F8FFCACD-735F-43F8-872B-A5583698540A}"/>
                    </a:ext>
                  </a:extLst>
                </p:cNvPr>
                <p:cNvSpPr txBox="1"/>
                <p:nvPr userDrawn="1"/>
              </p:nvSpPr>
              <p:spPr>
                <a:xfrm rot="16200000">
                  <a:off x="1151558" y="5217436"/>
                  <a:ext cx="848309" cy="261610"/>
                </a:xfrm>
                <a:prstGeom prst="rect">
                  <a:avLst/>
                </a:prstGeom>
                <a:noFill/>
              </p:spPr>
              <p:txBody>
                <a:bodyPr wrap="none" rtlCol="0">
                  <a:spAutoFit/>
                </a:bodyPr>
                <a:lstStyle/>
                <a:p>
                  <a:pPr algn="r"/>
                  <a:r>
                    <a:rPr lang="en-US" sz="1050" b="1" dirty="0"/>
                    <a:t>North West</a:t>
                  </a:r>
                </a:p>
              </p:txBody>
            </p:sp>
            <p:sp>
              <p:nvSpPr>
                <p:cNvPr id="73" name="TextBox 72">
                  <a:extLst>
                    <a:ext uri="{FF2B5EF4-FFF2-40B4-BE49-F238E27FC236}">
                      <a16:creationId xmlns:a16="http://schemas.microsoft.com/office/drawing/2014/main" id="{47883DD4-CE3F-406E-81E9-C983D850F8AF}"/>
                    </a:ext>
                  </a:extLst>
                </p:cNvPr>
                <p:cNvSpPr txBox="1"/>
                <p:nvPr userDrawn="1"/>
              </p:nvSpPr>
              <p:spPr>
                <a:xfrm rot="16200000">
                  <a:off x="1419020" y="5187781"/>
                  <a:ext cx="788999" cy="261610"/>
                </a:xfrm>
                <a:prstGeom prst="rect">
                  <a:avLst/>
                </a:prstGeom>
                <a:noFill/>
              </p:spPr>
              <p:txBody>
                <a:bodyPr wrap="none" rtlCol="0">
                  <a:spAutoFit/>
                </a:bodyPr>
                <a:lstStyle/>
                <a:p>
                  <a:pPr algn="r"/>
                  <a:r>
                    <a:rPr lang="en-US" sz="1050" b="1" dirty="0"/>
                    <a:t>North East</a:t>
                  </a:r>
                </a:p>
              </p:txBody>
            </p:sp>
            <p:sp>
              <p:nvSpPr>
                <p:cNvPr id="74" name="TextBox 73">
                  <a:extLst>
                    <a:ext uri="{FF2B5EF4-FFF2-40B4-BE49-F238E27FC236}">
                      <a16:creationId xmlns:a16="http://schemas.microsoft.com/office/drawing/2014/main" id="{489ADE0C-169B-433A-859B-9422282B46DA}"/>
                    </a:ext>
                  </a:extLst>
                </p:cNvPr>
                <p:cNvSpPr txBox="1"/>
                <p:nvPr userDrawn="1"/>
              </p:nvSpPr>
              <p:spPr>
                <a:xfrm rot="16200000">
                  <a:off x="177472" y="5233466"/>
                  <a:ext cx="880369" cy="261610"/>
                </a:xfrm>
                <a:prstGeom prst="rect">
                  <a:avLst/>
                </a:prstGeom>
                <a:noFill/>
              </p:spPr>
              <p:txBody>
                <a:bodyPr wrap="none" rtlCol="0">
                  <a:spAutoFit/>
                </a:bodyPr>
                <a:lstStyle/>
                <a:p>
                  <a:pPr algn="r"/>
                  <a:r>
                    <a:rPr lang="en-US" sz="1050" b="1" dirty="0"/>
                    <a:t>South South</a:t>
                  </a:r>
                </a:p>
              </p:txBody>
            </p:sp>
            <p:sp>
              <p:nvSpPr>
                <p:cNvPr id="75" name="TextBox 74">
                  <a:extLst>
                    <a:ext uri="{FF2B5EF4-FFF2-40B4-BE49-F238E27FC236}">
                      <a16:creationId xmlns:a16="http://schemas.microsoft.com/office/drawing/2014/main" id="{694237A2-05D3-4F7E-8CAF-4EB51D26C9FD}"/>
                    </a:ext>
                  </a:extLst>
                </p:cNvPr>
                <p:cNvSpPr txBox="1"/>
                <p:nvPr userDrawn="1"/>
              </p:nvSpPr>
              <p:spPr>
                <a:xfrm rot="16200000">
                  <a:off x="436325" y="5215833"/>
                  <a:ext cx="845103" cy="261610"/>
                </a:xfrm>
                <a:prstGeom prst="rect">
                  <a:avLst/>
                </a:prstGeom>
                <a:noFill/>
              </p:spPr>
              <p:txBody>
                <a:bodyPr wrap="none" rtlCol="0">
                  <a:spAutoFit/>
                </a:bodyPr>
                <a:lstStyle/>
                <a:p>
                  <a:pPr algn="r"/>
                  <a:r>
                    <a:rPr lang="en-US" sz="1050" b="1" dirty="0"/>
                    <a:t>South West</a:t>
                  </a:r>
                </a:p>
              </p:txBody>
            </p:sp>
          </p:grpSp>
          <p:grpSp>
            <p:nvGrpSpPr>
              <p:cNvPr id="67" name="Group 66">
                <a:extLst>
                  <a:ext uri="{FF2B5EF4-FFF2-40B4-BE49-F238E27FC236}">
                    <a16:creationId xmlns:a16="http://schemas.microsoft.com/office/drawing/2014/main" id="{2F2AF556-E2D0-4A72-B8DA-5117C8CDE5F5}"/>
                  </a:ext>
                </a:extLst>
              </p:cNvPr>
              <p:cNvGrpSpPr/>
              <p:nvPr/>
            </p:nvGrpSpPr>
            <p:grpSpPr>
              <a:xfrm>
                <a:off x="518579" y="5839092"/>
                <a:ext cx="1408406" cy="478480"/>
                <a:chOff x="518580" y="5840320"/>
                <a:chExt cx="1389898" cy="472193"/>
              </a:xfrm>
            </p:grpSpPr>
            <p:pic>
              <p:nvPicPr>
                <p:cNvPr id="68" name="Picture 67" descr="A picture containing shape&#10;&#10;Description automatically generated">
                  <a:extLst>
                    <a:ext uri="{FF2B5EF4-FFF2-40B4-BE49-F238E27FC236}">
                      <a16:creationId xmlns:a16="http://schemas.microsoft.com/office/drawing/2014/main" id="{7B288170-1C10-4B4F-AAB6-3A357E0030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395" y="5840320"/>
                  <a:ext cx="1370883" cy="472193"/>
                </a:xfrm>
                <a:prstGeom prst="rect">
                  <a:avLst/>
                </a:prstGeom>
              </p:spPr>
            </p:pic>
            <p:sp>
              <p:nvSpPr>
                <p:cNvPr id="69" name="TextBox 68">
                  <a:extLst>
                    <a:ext uri="{FF2B5EF4-FFF2-40B4-BE49-F238E27FC236}">
                      <a16:creationId xmlns:a16="http://schemas.microsoft.com/office/drawing/2014/main" id="{E7F55951-75F1-469D-AAF9-41AB36C59F57}"/>
                    </a:ext>
                  </a:extLst>
                </p:cNvPr>
                <p:cNvSpPr txBox="1"/>
                <p:nvPr/>
              </p:nvSpPr>
              <p:spPr>
                <a:xfrm>
                  <a:off x="518580" y="5933814"/>
                  <a:ext cx="1389898" cy="269304"/>
                </a:xfrm>
                <a:prstGeom prst="rect">
                  <a:avLst/>
                </a:prstGeom>
                <a:noFill/>
              </p:spPr>
              <p:txBody>
                <a:bodyPr wrap="square" rtlCol="0">
                  <a:spAutoFit/>
                </a:bodyPr>
                <a:lstStyle/>
                <a:p>
                  <a:pPr algn="ctr"/>
                  <a:r>
                    <a:rPr lang="en-US" sz="1150" b="1" i="0" dirty="0">
                      <a:effectLst/>
                      <a:latin typeface="Calibri" panose="020F0502020204030204" pitchFamily="34" charset="0"/>
                    </a:rPr>
                    <a:t>AOGs/Insurgents</a:t>
                  </a:r>
                  <a:endParaRPr lang="en-US" sz="1150" b="1" dirty="0"/>
                </a:p>
              </p:txBody>
            </p:sp>
          </p:grpSp>
        </p:grpSp>
        <p:grpSp>
          <p:nvGrpSpPr>
            <p:cNvPr id="76" name="Group 75">
              <a:extLst>
                <a:ext uri="{FF2B5EF4-FFF2-40B4-BE49-F238E27FC236}">
                  <a16:creationId xmlns:a16="http://schemas.microsoft.com/office/drawing/2014/main" id="{2C995FE0-A1DE-4E01-A41A-9B206448C259}"/>
                </a:ext>
              </a:extLst>
            </p:cNvPr>
            <p:cNvGrpSpPr/>
            <p:nvPr/>
          </p:nvGrpSpPr>
          <p:grpSpPr>
            <a:xfrm>
              <a:off x="10362595" y="5072829"/>
              <a:ext cx="1457473" cy="1393486"/>
              <a:chOff x="486852" y="4924086"/>
              <a:chExt cx="1457473" cy="1393486"/>
            </a:xfrm>
          </p:grpSpPr>
          <p:grpSp>
            <p:nvGrpSpPr>
              <p:cNvPr id="77" name="Group 76">
                <a:extLst>
                  <a:ext uri="{FF2B5EF4-FFF2-40B4-BE49-F238E27FC236}">
                    <a16:creationId xmlns:a16="http://schemas.microsoft.com/office/drawing/2014/main" id="{7561FA30-6A3A-4B51-B8B1-31B0CCB0424A}"/>
                  </a:ext>
                </a:extLst>
              </p:cNvPr>
              <p:cNvGrpSpPr/>
              <p:nvPr/>
            </p:nvGrpSpPr>
            <p:grpSpPr>
              <a:xfrm>
                <a:off x="486852" y="4924086"/>
                <a:ext cx="1457473" cy="966931"/>
                <a:chOff x="486852" y="4924086"/>
                <a:chExt cx="1457473" cy="966931"/>
              </a:xfrm>
            </p:grpSpPr>
            <p:sp>
              <p:nvSpPr>
                <p:cNvPr id="81" name="TextBox 80">
                  <a:extLst>
                    <a:ext uri="{FF2B5EF4-FFF2-40B4-BE49-F238E27FC236}">
                      <a16:creationId xmlns:a16="http://schemas.microsoft.com/office/drawing/2014/main" id="{69D2D687-D915-491F-8704-9EBADEA1B507}"/>
                    </a:ext>
                  </a:extLst>
                </p:cNvPr>
                <p:cNvSpPr txBox="1"/>
                <p:nvPr userDrawn="1"/>
              </p:nvSpPr>
              <p:spPr>
                <a:xfrm rot="16200000">
                  <a:off x="703788" y="5186178"/>
                  <a:ext cx="785793" cy="261610"/>
                </a:xfrm>
                <a:prstGeom prst="rect">
                  <a:avLst/>
                </a:prstGeom>
                <a:noFill/>
              </p:spPr>
              <p:txBody>
                <a:bodyPr wrap="none" rtlCol="0">
                  <a:spAutoFit/>
                </a:bodyPr>
                <a:lstStyle/>
                <a:p>
                  <a:pPr algn="r"/>
                  <a:r>
                    <a:rPr lang="en-US" sz="1050" b="1" dirty="0"/>
                    <a:t>South East</a:t>
                  </a:r>
                </a:p>
              </p:txBody>
            </p:sp>
            <p:sp>
              <p:nvSpPr>
                <p:cNvPr id="82" name="TextBox 81">
                  <a:extLst>
                    <a:ext uri="{FF2B5EF4-FFF2-40B4-BE49-F238E27FC236}">
                      <a16:creationId xmlns:a16="http://schemas.microsoft.com/office/drawing/2014/main" id="{BA0BA527-7600-496B-A296-4F144AB59875}"/>
                    </a:ext>
                  </a:extLst>
                </p:cNvPr>
                <p:cNvSpPr txBox="1"/>
                <p:nvPr userDrawn="1"/>
              </p:nvSpPr>
              <p:spPr>
                <a:xfrm rot="16200000">
                  <a:off x="854439" y="5276747"/>
                  <a:ext cx="966931" cy="261610"/>
                </a:xfrm>
                <a:prstGeom prst="rect">
                  <a:avLst/>
                </a:prstGeom>
                <a:noFill/>
              </p:spPr>
              <p:txBody>
                <a:bodyPr wrap="none" rtlCol="0">
                  <a:spAutoFit/>
                </a:bodyPr>
                <a:lstStyle/>
                <a:p>
                  <a:pPr algn="r"/>
                  <a:r>
                    <a:rPr lang="en-US" sz="1050" b="1" dirty="0"/>
                    <a:t>North Central</a:t>
                  </a:r>
                </a:p>
              </p:txBody>
            </p:sp>
            <p:sp>
              <p:nvSpPr>
                <p:cNvPr id="83" name="TextBox 82">
                  <a:extLst>
                    <a:ext uri="{FF2B5EF4-FFF2-40B4-BE49-F238E27FC236}">
                      <a16:creationId xmlns:a16="http://schemas.microsoft.com/office/drawing/2014/main" id="{D7596353-86B6-40D2-A55F-72FE85D732F5}"/>
                    </a:ext>
                  </a:extLst>
                </p:cNvPr>
                <p:cNvSpPr txBox="1"/>
                <p:nvPr userDrawn="1"/>
              </p:nvSpPr>
              <p:spPr>
                <a:xfrm rot="16200000">
                  <a:off x="1151558" y="5217436"/>
                  <a:ext cx="848309" cy="261610"/>
                </a:xfrm>
                <a:prstGeom prst="rect">
                  <a:avLst/>
                </a:prstGeom>
                <a:noFill/>
              </p:spPr>
              <p:txBody>
                <a:bodyPr wrap="none" rtlCol="0">
                  <a:spAutoFit/>
                </a:bodyPr>
                <a:lstStyle/>
                <a:p>
                  <a:pPr algn="r"/>
                  <a:r>
                    <a:rPr lang="en-US" sz="1050" b="1" dirty="0"/>
                    <a:t>North West</a:t>
                  </a:r>
                </a:p>
              </p:txBody>
            </p:sp>
            <p:sp>
              <p:nvSpPr>
                <p:cNvPr id="84" name="TextBox 83">
                  <a:extLst>
                    <a:ext uri="{FF2B5EF4-FFF2-40B4-BE49-F238E27FC236}">
                      <a16:creationId xmlns:a16="http://schemas.microsoft.com/office/drawing/2014/main" id="{99E13C00-8F58-4291-85DC-CB9D270AEB54}"/>
                    </a:ext>
                  </a:extLst>
                </p:cNvPr>
                <p:cNvSpPr txBox="1"/>
                <p:nvPr userDrawn="1"/>
              </p:nvSpPr>
              <p:spPr>
                <a:xfrm rot="16200000">
                  <a:off x="1419020" y="5187781"/>
                  <a:ext cx="788999" cy="261610"/>
                </a:xfrm>
                <a:prstGeom prst="rect">
                  <a:avLst/>
                </a:prstGeom>
                <a:noFill/>
              </p:spPr>
              <p:txBody>
                <a:bodyPr wrap="none" rtlCol="0">
                  <a:spAutoFit/>
                </a:bodyPr>
                <a:lstStyle/>
                <a:p>
                  <a:pPr algn="r"/>
                  <a:r>
                    <a:rPr lang="en-US" sz="1050" b="1" dirty="0"/>
                    <a:t>North East</a:t>
                  </a:r>
                </a:p>
              </p:txBody>
            </p:sp>
            <p:sp>
              <p:nvSpPr>
                <p:cNvPr id="85" name="TextBox 84">
                  <a:extLst>
                    <a:ext uri="{FF2B5EF4-FFF2-40B4-BE49-F238E27FC236}">
                      <a16:creationId xmlns:a16="http://schemas.microsoft.com/office/drawing/2014/main" id="{C85500D3-2933-49E0-BE7D-4851E853B8F7}"/>
                    </a:ext>
                  </a:extLst>
                </p:cNvPr>
                <p:cNvSpPr txBox="1"/>
                <p:nvPr userDrawn="1"/>
              </p:nvSpPr>
              <p:spPr>
                <a:xfrm rot="16200000">
                  <a:off x="177472" y="5233466"/>
                  <a:ext cx="880369" cy="261610"/>
                </a:xfrm>
                <a:prstGeom prst="rect">
                  <a:avLst/>
                </a:prstGeom>
                <a:noFill/>
              </p:spPr>
              <p:txBody>
                <a:bodyPr wrap="none" rtlCol="0">
                  <a:spAutoFit/>
                </a:bodyPr>
                <a:lstStyle/>
                <a:p>
                  <a:pPr algn="r"/>
                  <a:r>
                    <a:rPr lang="en-US" sz="1050" b="1" dirty="0"/>
                    <a:t>South South</a:t>
                  </a:r>
                </a:p>
              </p:txBody>
            </p:sp>
            <p:sp>
              <p:nvSpPr>
                <p:cNvPr id="86" name="TextBox 85">
                  <a:extLst>
                    <a:ext uri="{FF2B5EF4-FFF2-40B4-BE49-F238E27FC236}">
                      <a16:creationId xmlns:a16="http://schemas.microsoft.com/office/drawing/2014/main" id="{338BA34D-90CC-4166-BCE4-63892CA6D4CB}"/>
                    </a:ext>
                  </a:extLst>
                </p:cNvPr>
                <p:cNvSpPr txBox="1"/>
                <p:nvPr userDrawn="1"/>
              </p:nvSpPr>
              <p:spPr>
                <a:xfrm rot="16200000">
                  <a:off x="436325" y="5215833"/>
                  <a:ext cx="845103" cy="261610"/>
                </a:xfrm>
                <a:prstGeom prst="rect">
                  <a:avLst/>
                </a:prstGeom>
                <a:noFill/>
              </p:spPr>
              <p:txBody>
                <a:bodyPr wrap="none" rtlCol="0">
                  <a:spAutoFit/>
                </a:bodyPr>
                <a:lstStyle/>
                <a:p>
                  <a:pPr algn="r"/>
                  <a:r>
                    <a:rPr lang="en-US" sz="1050" b="1" dirty="0"/>
                    <a:t>South West</a:t>
                  </a:r>
                </a:p>
              </p:txBody>
            </p:sp>
          </p:grpSp>
          <p:grpSp>
            <p:nvGrpSpPr>
              <p:cNvPr id="78" name="Group 77">
                <a:extLst>
                  <a:ext uri="{FF2B5EF4-FFF2-40B4-BE49-F238E27FC236}">
                    <a16:creationId xmlns:a16="http://schemas.microsoft.com/office/drawing/2014/main" id="{242E67AF-DFE9-4436-BE9D-83C409DB0833}"/>
                  </a:ext>
                </a:extLst>
              </p:cNvPr>
              <p:cNvGrpSpPr/>
              <p:nvPr/>
            </p:nvGrpSpPr>
            <p:grpSpPr>
              <a:xfrm>
                <a:off x="518579" y="5839092"/>
                <a:ext cx="1408406" cy="478480"/>
                <a:chOff x="518580" y="5840320"/>
                <a:chExt cx="1389898" cy="472193"/>
              </a:xfrm>
            </p:grpSpPr>
            <p:pic>
              <p:nvPicPr>
                <p:cNvPr id="79" name="Picture 78" descr="A picture containing shape&#10;&#10;Description automatically generated">
                  <a:extLst>
                    <a:ext uri="{FF2B5EF4-FFF2-40B4-BE49-F238E27FC236}">
                      <a16:creationId xmlns:a16="http://schemas.microsoft.com/office/drawing/2014/main" id="{2384B96C-194C-4F2F-8F4B-528A21049E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395" y="5840320"/>
                  <a:ext cx="1370883" cy="472193"/>
                </a:xfrm>
                <a:prstGeom prst="rect">
                  <a:avLst/>
                </a:prstGeom>
              </p:spPr>
            </p:pic>
            <p:sp>
              <p:nvSpPr>
                <p:cNvPr id="80" name="TextBox 79">
                  <a:extLst>
                    <a:ext uri="{FF2B5EF4-FFF2-40B4-BE49-F238E27FC236}">
                      <a16:creationId xmlns:a16="http://schemas.microsoft.com/office/drawing/2014/main" id="{F7D89075-5131-4E80-BC84-DAF7662412BA}"/>
                    </a:ext>
                  </a:extLst>
                </p:cNvPr>
                <p:cNvSpPr txBox="1"/>
                <p:nvPr/>
              </p:nvSpPr>
              <p:spPr>
                <a:xfrm>
                  <a:off x="518580" y="5933814"/>
                  <a:ext cx="1389898" cy="269304"/>
                </a:xfrm>
                <a:prstGeom prst="rect">
                  <a:avLst/>
                </a:prstGeom>
                <a:noFill/>
              </p:spPr>
              <p:txBody>
                <a:bodyPr wrap="square" rtlCol="0">
                  <a:spAutoFit/>
                </a:bodyPr>
                <a:lstStyle/>
                <a:p>
                  <a:pPr algn="ctr"/>
                  <a:r>
                    <a:rPr lang="en-US" sz="1150" b="1" i="0" dirty="0">
                      <a:effectLst/>
                      <a:latin typeface="Calibri" panose="020F0502020204030204" pitchFamily="34" charset="0"/>
                    </a:rPr>
                    <a:t>Bandits</a:t>
                  </a:r>
                  <a:endParaRPr lang="en-US" sz="1150" b="1" dirty="0"/>
                </a:p>
              </p:txBody>
            </p:sp>
          </p:grpSp>
        </p:grpSp>
        <p:pic>
          <p:nvPicPr>
            <p:cNvPr id="89" name="Picture 88" descr="Background pattern&#10;&#10;Description automatically generated">
              <a:extLst>
                <a:ext uri="{FF2B5EF4-FFF2-40B4-BE49-F238E27FC236}">
                  <a16:creationId xmlns:a16="http://schemas.microsoft.com/office/drawing/2014/main" id="{F2847FBB-DE71-4BEC-8F38-CBC7F4B859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7787" y="2569591"/>
              <a:ext cx="202154" cy="789872"/>
            </a:xfrm>
            <a:prstGeom prst="rect">
              <a:avLst/>
            </a:prstGeom>
          </p:spPr>
        </p:pic>
        <p:pic>
          <p:nvPicPr>
            <p:cNvPr id="107" name="Picture 106" descr="Background pattern&#10;&#10;Description automatically generated">
              <a:extLst>
                <a:ext uri="{FF2B5EF4-FFF2-40B4-BE49-F238E27FC236}">
                  <a16:creationId xmlns:a16="http://schemas.microsoft.com/office/drawing/2014/main" id="{2884E73F-643E-46B6-85EB-D19485E028C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37155" y="4222309"/>
              <a:ext cx="202154" cy="791210"/>
            </a:xfrm>
            <a:prstGeom prst="rect">
              <a:avLst/>
            </a:prstGeom>
          </p:spPr>
        </p:pic>
        <p:pic>
          <p:nvPicPr>
            <p:cNvPr id="120" name="Picture 119">
              <a:extLst>
                <a:ext uri="{FF2B5EF4-FFF2-40B4-BE49-F238E27FC236}">
                  <a16:creationId xmlns:a16="http://schemas.microsoft.com/office/drawing/2014/main" id="{41262D27-369D-4713-91A7-B0FC69DCE9B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02707" y="1747693"/>
              <a:ext cx="202154" cy="789872"/>
            </a:xfrm>
            <a:prstGeom prst="rect">
              <a:avLst/>
            </a:prstGeom>
          </p:spPr>
        </p:pic>
        <p:pic>
          <p:nvPicPr>
            <p:cNvPr id="125" name="Picture 124">
              <a:extLst>
                <a:ext uri="{FF2B5EF4-FFF2-40B4-BE49-F238E27FC236}">
                  <a16:creationId xmlns:a16="http://schemas.microsoft.com/office/drawing/2014/main" id="{C4C79015-DB75-4808-BCDC-732BD0FC47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62676" y="1747693"/>
              <a:ext cx="202154" cy="789872"/>
            </a:xfrm>
            <a:prstGeom prst="rect">
              <a:avLst/>
            </a:prstGeom>
          </p:spPr>
        </p:pic>
        <p:pic>
          <p:nvPicPr>
            <p:cNvPr id="130" name="Picture 129">
              <a:extLst>
                <a:ext uri="{FF2B5EF4-FFF2-40B4-BE49-F238E27FC236}">
                  <a16:creationId xmlns:a16="http://schemas.microsoft.com/office/drawing/2014/main" id="{983BABEB-549B-4E54-974E-D612623DE5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82769" y="1747693"/>
              <a:ext cx="202154" cy="789872"/>
            </a:xfrm>
            <a:prstGeom prst="rect">
              <a:avLst/>
            </a:prstGeom>
          </p:spPr>
        </p:pic>
        <p:pic>
          <p:nvPicPr>
            <p:cNvPr id="135" name="Picture 134">
              <a:extLst>
                <a:ext uri="{FF2B5EF4-FFF2-40B4-BE49-F238E27FC236}">
                  <a16:creationId xmlns:a16="http://schemas.microsoft.com/office/drawing/2014/main" id="{A3879D5F-368B-4095-8190-DDE7704752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42738" y="1747693"/>
              <a:ext cx="202154" cy="789872"/>
            </a:xfrm>
            <a:prstGeom prst="rect">
              <a:avLst/>
            </a:prstGeom>
          </p:spPr>
        </p:pic>
        <p:pic>
          <p:nvPicPr>
            <p:cNvPr id="139" name="Picture 138" descr="Background pattern&#10;&#10;Description automatically generated">
              <a:extLst>
                <a:ext uri="{FF2B5EF4-FFF2-40B4-BE49-F238E27FC236}">
                  <a16:creationId xmlns:a16="http://schemas.microsoft.com/office/drawing/2014/main" id="{E79570D7-BFA1-45E2-97EF-EBF3985FAE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62830" y="2569591"/>
              <a:ext cx="202154" cy="789872"/>
            </a:xfrm>
            <a:prstGeom prst="rect">
              <a:avLst/>
            </a:prstGeom>
          </p:spPr>
        </p:pic>
        <p:pic>
          <p:nvPicPr>
            <p:cNvPr id="144" name="Picture 143" descr="Background pattern&#10;&#10;Description automatically generated">
              <a:extLst>
                <a:ext uri="{FF2B5EF4-FFF2-40B4-BE49-F238E27FC236}">
                  <a16:creationId xmlns:a16="http://schemas.microsoft.com/office/drawing/2014/main" id="{0CFA6D84-4E60-48C1-89FF-94EBF45D29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22800" y="2569591"/>
              <a:ext cx="202154" cy="789872"/>
            </a:xfrm>
            <a:prstGeom prst="rect">
              <a:avLst/>
            </a:prstGeom>
          </p:spPr>
        </p:pic>
        <p:pic>
          <p:nvPicPr>
            <p:cNvPr id="157" name="Picture 156" descr="Background pattern&#10;&#10;Description automatically generated">
              <a:extLst>
                <a:ext uri="{FF2B5EF4-FFF2-40B4-BE49-F238E27FC236}">
                  <a16:creationId xmlns:a16="http://schemas.microsoft.com/office/drawing/2014/main" id="{3E5F738C-8797-43B7-BA25-2CC4201B26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0609" y="4220452"/>
              <a:ext cx="202154" cy="791210"/>
            </a:xfrm>
            <a:prstGeom prst="rect">
              <a:avLst/>
            </a:prstGeom>
          </p:spPr>
        </p:pic>
        <p:pic>
          <p:nvPicPr>
            <p:cNvPr id="165" name="Picture 164">
              <a:extLst>
                <a:ext uri="{FF2B5EF4-FFF2-40B4-BE49-F238E27FC236}">
                  <a16:creationId xmlns:a16="http://schemas.microsoft.com/office/drawing/2014/main" id="{5E951ECB-7EA2-4469-93B5-07AC09F607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0578" y="1747693"/>
              <a:ext cx="202154" cy="789872"/>
            </a:xfrm>
            <a:prstGeom prst="rect">
              <a:avLst/>
            </a:prstGeom>
          </p:spPr>
        </p:pic>
        <p:pic>
          <p:nvPicPr>
            <p:cNvPr id="167" name="Picture 166" descr="Background pattern&#10;&#10;Description automatically generated">
              <a:extLst>
                <a:ext uri="{FF2B5EF4-FFF2-40B4-BE49-F238E27FC236}">
                  <a16:creationId xmlns:a16="http://schemas.microsoft.com/office/drawing/2014/main" id="{6172A602-2A0E-4830-B6D8-5B7EC725AE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0670" y="4220452"/>
              <a:ext cx="202154" cy="791210"/>
            </a:xfrm>
            <a:prstGeom prst="rect">
              <a:avLst/>
            </a:prstGeom>
          </p:spPr>
        </p:pic>
        <p:pic>
          <p:nvPicPr>
            <p:cNvPr id="172" name="Picture 171" descr="Background pattern&#10;&#10;Description automatically generated">
              <a:extLst>
                <a:ext uri="{FF2B5EF4-FFF2-40B4-BE49-F238E27FC236}">
                  <a16:creationId xmlns:a16="http://schemas.microsoft.com/office/drawing/2014/main" id="{014B4A7C-E000-4BEA-9A24-46C03711E8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50640" y="4220452"/>
              <a:ext cx="202154" cy="791210"/>
            </a:xfrm>
            <a:prstGeom prst="rect">
              <a:avLst/>
            </a:prstGeom>
          </p:spPr>
        </p:pic>
        <p:pic>
          <p:nvPicPr>
            <p:cNvPr id="184" name="Picture 183" descr="Background pattern&#10;&#10;Description automatically generated">
              <a:extLst>
                <a:ext uri="{FF2B5EF4-FFF2-40B4-BE49-F238E27FC236}">
                  <a16:creationId xmlns:a16="http://schemas.microsoft.com/office/drawing/2014/main" id="{4F473288-9FF6-4775-98A3-A63054B941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3281" y="2569591"/>
              <a:ext cx="202154" cy="789872"/>
            </a:xfrm>
            <a:prstGeom prst="rect">
              <a:avLst/>
            </a:prstGeom>
          </p:spPr>
        </p:pic>
        <p:pic>
          <p:nvPicPr>
            <p:cNvPr id="190" name="Picture 189">
              <a:extLst>
                <a:ext uri="{FF2B5EF4-FFF2-40B4-BE49-F238E27FC236}">
                  <a16:creationId xmlns:a16="http://schemas.microsoft.com/office/drawing/2014/main" id="{04F5C0A8-3FC8-4F68-8B9F-F6DD8BC4B5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33374" y="1747693"/>
              <a:ext cx="202154" cy="789872"/>
            </a:xfrm>
            <a:prstGeom prst="rect">
              <a:avLst/>
            </a:prstGeom>
          </p:spPr>
        </p:pic>
        <p:pic>
          <p:nvPicPr>
            <p:cNvPr id="199" name="Picture 198" descr="Background pattern&#10;&#10;Description automatically generated">
              <a:extLst>
                <a:ext uri="{FF2B5EF4-FFF2-40B4-BE49-F238E27FC236}">
                  <a16:creationId xmlns:a16="http://schemas.microsoft.com/office/drawing/2014/main" id="{73A3701F-BE63-4DE8-9DFC-4015C4DF9E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13435" y="2569591"/>
              <a:ext cx="202154" cy="789872"/>
            </a:xfrm>
            <a:prstGeom prst="rect">
              <a:avLst/>
            </a:prstGeom>
          </p:spPr>
        </p:pic>
        <p:pic>
          <p:nvPicPr>
            <p:cNvPr id="225" name="Picture 224">
              <a:extLst>
                <a:ext uri="{FF2B5EF4-FFF2-40B4-BE49-F238E27FC236}">
                  <a16:creationId xmlns:a16="http://schemas.microsoft.com/office/drawing/2014/main" id="{C7824492-A967-4A39-BA72-C09FB6D22B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61595" y="1747693"/>
              <a:ext cx="202154" cy="789872"/>
            </a:xfrm>
            <a:prstGeom prst="rect">
              <a:avLst/>
            </a:prstGeom>
          </p:spPr>
        </p:pic>
        <p:pic>
          <p:nvPicPr>
            <p:cNvPr id="249" name="Picture 248" descr="Background pattern&#10;&#10;Description automatically generated">
              <a:extLst>
                <a:ext uri="{FF2B5EF4-FFF2-40B4-BE49-F238E27FC236}">
                  <a16:creationId xmlns:a16="http://schemas.microsoft.com/office/drawing/2014/main" id="{1D9D8A19-FA7D-4510-9769-39A99334EC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85564" y="2569591"/>
              <a:ext cx="202154" cy="789872"/>
            </a:xfrm>
            <a:prstGeom prst="rect">
              <a:avLst/>
            </a:prstGeom>
          </p:spPr>
        </p:pic>
        <p:pic>
          <p:nvPicPr>
            <p:cNvPr id="261" name="Picture 260" descr="A picture containing indoor&#10;&#10;Description automatically generated">
              <a:extLst>
                <a:ext uri="{FF2B5EF4-FFF2-40B4-BE49-F238E27FC236}">
                  <a16:creationId xmlns:a16="http://schemas.microsoft.com/office/drawing/2014/main" id="{C5F2AC94-86EE-4A59-92AE-BA5B50037C2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65625" y="923185"/>
              <a:ext cx="202154" cy="789872"/>
            </a:xfrm>
            <a:prstGeom prst="rect">
              <a:avLst/>
            </a:prstGeom>
          </p:spPr>
        </p:pic>
        <p:pic>
          <p:nvPicPr>
            <p:cNvPr id="265" name="Picture 264">
              <a:extLst>
                <a:ext uri="{FF2B5EF4-FFF2-40B4-BE49-F238E27FC236}">
                  <a16:creationId xmlns:a16="http://schemas.microsoft.com/office/drawing/2014/main" id="{0DC9776C-BB82-413A-9E0E-068D0E4BC3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25595" y="1747693"/>
              <a:ext cx="202154" cy="789872"/>
            </a:xfrm>
            <a:prstGeom prst="rect">
              <a:avLst/>
            </a:prstGeom>
          </p:spPr>
        </p:pic>
        <p:pic>
          <p:nvPicPr>
            <p:cNvPr id="272" name="Picture 271" descr="Background pattern&#10;&#10;Description automatically generated">
              <a:extLst>
                <a:ext uri="{FF2B5EF4-FFF2-40B4-BE49-F238E27FC236}">
                  <a16:creationId xmlns:a16="http://schemas.microsoft.com/office/drawing/2014/main" id="{B8DFBF94-4AC9-4E9B-8225-778491F933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93061" y="4220452"/>
              <a:ext cx="202154" cy="791210"/>
            </a:xfrm>
            <a:prstGeom prst="rect">
              <a:avLst/>
            </a:prstGeom>
          </p:spPr>
        </p:pic>
        <p:pic>
          <p:nvPicPr>
            <p:cNvPr id="280" name="Picture 279">
              <a:extLst>
                <a:ext uri="{FF2B5EF4-FFF2-40B4-BE49-F238E27FC236}">
                  <a16:creationId xmlns:a16="http://schemas.microsoft.com/office/drawing/2014/main" id="{2AB70936-00C2-44D6-9147-55460572C89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13154" y="1747693"/>
              <a:ext cx="202154" cy="789872"/>
            </a:xfrm>
            <a:prstGeom prst="rect">
              <a:avLst/>
            </a:prstGeom>
          </p:spPr>
        </p:pic>
        <p:pic>
          <p:nvPicPr>
            <p:cNvPr id="296" name="Picture 295" descr="A picture containing indoor&#10;&#10;Description automatically generated">
              <a:extLst>
                <a:ext uri="{FF2B5EF4-FFF2-40B4-BE49-F238E27FC236}">
                  <a16:creationId xmlns:a16="http://schemas.microsoft.com/office/drawing/2014/main" id="{F0DBD685-6D71-47DA-B566-638F28EAF75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353185" y="923185"/>
              <a:ext cx="202154" cy="789872"/>
            </a:xfrm>
            <a:prstGeom prst="rect">
              <a:avLst/>
            </a:prstGeom>
          </p:spPr>
        </p:pic>
        <p:pic>
          <p:nvPicPr>
            <p:cNvPr id="297" name="Picture 296" descr="Background pattern&#10;&#10;Description automatically generated">
              <a:extLst>
                <a:ext uri="{FF2B5EF4-FFF2-40B4-BE49-F238E27FC236}">
                  <a16:creationId xmlns:a16="http://schemas.microsoft.com/office/drawing/2014/main" id="{2ABDF1B2-635D-4DE1-98A7-B975328484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1585" y="4220452"/>
              <a:ext cx="378691" cy="791210"/>
            </a:xfrm>
            <a:prstGeom prst="rect">
              <a:avLst/>
            </a:prstGeom>
          </p:spPr>
        </p:pic>
        <p:pic>
          <p:nvPicPr>
            <p:cNvPr id="298" name="Picture 297">
              <a:extLst>
                <a:ext uri="{FF2B5EF4-FFF2-40B4-BE49-F238E27FC236}">
                  <a16:creationId xmlns:a16="http://schemas.microsoft.com/office/drawing/2014/main" id="{9C40F285-4AD9-40F6-920F-6BC5661001F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1585" y="3392473"/>
              <a:ext cx="378691" cy="789872"/>
            </a:xfrm>
            <a:prstGeom prst="rect">
              <a:avLst/>
            </a:prstGeom>
          </p:spPr>
        </p:pic>
        <p:pic>
          <p:nvPicPr>
            <p:cNvPr id="299" name="Picture 298" descr="Background pattern&#10;&#10;Description automatically generated">
              <a:extLst>
                <a:ext uri="{FF2B5EF4-FFF2-40B4-BE49-F238E27FC236}">
                  <a16:creationId xmlns:a16="http://schemas.microsoft.com/office/drawing/2014/main" id="{18AC2502-A144-41F8-965A-3D87C711F65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585" y="2569591"/>
              <a:ext cx="378691" cy="789872"/>
            </a:xfrm>
            <a:prstGeom prst="rect">
              <a:avLst/>
            </a:prstGeom>
          </p:spPr>
        </p:pic>
        <p:pic>
          <p:nvPicPr>
            <p:cNvPr id="300" name="Picture 299">
              <a:extLst>
                <a:ext uri="{FF2B5EF4-FFF2-40B4-BE49-F238E27FC236}">
                  <a16:creationId xmlns:a16="http://schemas.microsoft.com/office/drawing/2014/main" id="{EFB38431-CC59-4BD3-BC36-325E405532E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1585" y="1747693"/>
              <a:ext cx="378691" cy="789872"/>
            </a:xfrm>
            <a:prstGeom prst="rect">
              <a:avLst/>
            </a:prstGeom>
          </p:spPr>
        </p:pic>
        <p:pic>
          <p:nvPicPr>
            <p:cNvPr id="301" name="Picture 300" descr="A picture containing indoor&#10;&#10;Description automatically generated">
              <a:extLst>
                <a:ext uri="{FF2B5EF4-FFF2-40B4-BE49-F238E27FC236}">
                  <a16:creationId xmlns:a16="http://schemas.microsoft.com/office/drawing/2014/main" id="{C4E5F0E6-4FBC-4889-AF19-FEFC597F5AB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1585" y="923185"/>
              <a:ext cx="378691" cy="789872"/>
            </a:xfrm>
            <a:prstGeom prst="rect">
              <a:avLst/>
            </a:prstGeom>
          </p:spPr>
        </p:pic>
        <p:sp>
          <p:nvSpPr>
            <p:cNvPr id="3" name="TextBox 2">
              <a:extLst>
                <a:ext uri="{FF2B5EF4-FFF2-40B4-BE49-F238E27FC236}">
                  <a16:creationId xmlns:a16="http://schemas.microsoft.com/office/drawing/2014/main" id="{BF9B3ADC-CA06-4AD8-A139-2C829987DB08}"/>
                </a:ext>
              </a:extLst>
            </p:cNvPr>
            <p:cNvSpPr txBox="1"/>
            <p:nvPr/>
          </p:nvSpPr>
          <p:spPr>
            <a:xfrm rot="16200000">
              <a:off x="-84562" y="4487804"/>
              <a:ext cx="803425" cy="276999"/>
            </a:xfrm>
            <a:prstGeom prst="rect">
              <a:avLst/>
            </a:prstGeom>
            <a:noFill/>
          </p:spPr>
          <p:txBody>
            <a:bodyPr wrap="none" rtlCol="0">
              <a:spAutoFit/>
            </a:bodyPr>
            <a:lstStyle/>
            <a:p>
              <a:pPr algn="ctr"/>
              <a:r>
                <a:rPr lang="en-US" sz="1200" dirty="0">
                  <a:solidFill>
                    <a:schemeClr val="bg1"/>
                  </a:solidFill>
                </a:rPr>
                <a:t>Negligible</a:t>
              </a:r>
            </a:p>
          </p:txBody>
        </p:sp>
        <p:sp>
          <p:nvSpPr>
            <p:cNvPr id="302" name="TextBox 301">
              <a:extLst>
                <a:ext uri="{FF2B5EF4-FFF2-40B4-BE49-F238E27FC236}">
                  <a16:creationId xmlns:a16="http://schemas.microsoft.com/office/drawing/2014/main" id="{BC53E1F1-047A-4932-AE35-C54FB2620ED2}"/>
                </a:ext>
              </a:extLst>
            </p:cNvPr>
            <p:cNvSpPr txBox="1"/>
            <p:nvPr/>
          </p:nvSpPr>
          <p:spPr>
            <a:xfrm rot="16200000">
              <a:off x="87631" y="3678224"/>
              <a:ext cx="440570" cy="276999"/>
            </a:xfrm>
            <a:prstGeom prst="rect">
              <a:avLst/>
            </a:prstGeom>
            <a:noFill/>
          </p:spPr>
          <p:txBody>
            <a:bodyPr wrap="none" rtlCol="0">
              <a:spAutoFit/>
            </a:bodyPr>
            <a:lstStyle/>
            <a:p>
              <a:pPr algn="ctr"/>
              <a:r>
                <a:rPr lang="en-US" sz="1200" dirty="0">
                  <a:solidFill>
                    <a:schemeClr val="bg1"/>
                  </a:solidFill>
                </a:rPr>
                <a:t>Low</a:t>
              </a:r>
            </a:p>
          </p:txBody>
        </p:sp>
        <p:sp>
          <p:nvSpPr>
            <p:cNvPr id="303" name="TextBox 302">
              <a:extLst>
                <a:ext uri="{FF2B5EF4-FFF2-40B4-BE49-F238E27FC236}">
                  <a16:creationId xmlns:a16="http://schemas.microsoft.com/office/drawing/2014/main" id="{3A5BFE56-8CCA-41C6-B85D-BECEEEFEB07F}"/>
                </a:ext>
              </a:extLst>
            </p:cNvPr>
            <p:cNvSpPr txBox="1"/>
            <p:nvPr/>
          </p:nvSpPr>
          <p:spPr>
            <a:xfrm rot="16200000">
              <a:off x="-48112" y="2820413"/>
              <a:ext cx="712054" cy="276999"/>
            </a:xfrm>
            <a:prstGeom prst="rect">
              <a:avLst/>
            </a:prstGeom>
            <a:noFill/>
          </p:spPr>
          <p:txBody>
            <a:bodyPr wrap="none" rtlCol="0">
              <a:spAutoFit/>
            </a:bodyPr>
            <a:lstStyle/>
            <a:p>
              <a:pPr algn="ctr"/>
              <a:r>
                <a:rPr lang="en-US" sz="1200" dirty="0">
                  <a:solidFill>
                    <a:schemeClr val="bg1"/>
                  </a:solidFill>
                </a:rPr>
                <a:t>Medium</a:t>
              </a:r>
            </a:p>
          </p:txBody>
        </p:sp>
        <p:sp>
          <p:nvSpPr>
            <p:cNvPr id="304" name="TextBox 303">
              <a:extLst>
                <a:ext uri="{FF2B5EF4-FFF2-40B4-BE49-F238E27FC236}">
                  <a16:creationId xmlns:a16="http://schemas.microsoft.com/office/drawing/2014/main" id="{1A21D66B-2ADA-4F09-B8CC-280CC5A0A55D}"/>
                </a:ext>
              </a:extLst>
            </p:cNvPr>
            <p:cNvSpPr txBox="1"/>
            <p:nvPr/>
          </p:nvSpPr>
          <p:spPr>
            <a:xfrm rot="16200000">
              <a:off x="80590" y="2019354"/>
              <a:ext cx="468398" cy="276999"/>
            </a:xfrm>
            <a:prstGeom prst="rect">
              <a:avLst/>
            </a:prstGeom>
            <a:noFill/>
          </p:spPr>
          <p:txBody>
            <a:bodyPr wrap="none" rtlCol="0">
              <a:spAutoFit/>
            </a:bodyPr>
            <a:lstStyle/>
            <a:p>
              <a:pPr algn="ctr"/>
              <a:r>
                <a:rPr lang="en-US" sz="1200" dirty="0">
                  <a:solidFill>
                    <a:schemeClr val="bg1"/>
                  </a:solidFill>
                </a:rPr>
                <a:t>High</a:t>
              </a:r>
            </a:p>
          </p:txBody>
        </p:sp>
        <p:sp>
          <p:nvSpPr>
            <p:cNvPr id="305" name="TextBox 304">
              <a:extLst>
                <a:ext uri="{FF2B5EF4-FFF2-40B4-BE49-F238E27FC236}">
                  <a16:creationId xmlns:a16="http://schemas.microsoft.com/office/drawing/2014/main" id="{F3CCBF8E-9FDA-49F3-8177-62A34574DF99}"/>
                </a:ext>
              </a:extLst>
            </p:cNvPr>
            <p:cNvSpPr txBox="1"/>
            <p:nvPr/>
          </p:nvSpPr>
          <p:spPr>
            <a:xfrm rot="16200000">
              <a:off x="-38831" y="1173025"/>
              <a:ext cx="707245" cy="276999"/>
            </a:xfrm>
            <a:prstGeom prst="rect">
              <a:avLst/>
            </a:prstGeom>
            <a:noFill/>
          </p:spPr>
          <p:txBody>
            <a:bodyPr wrap="none" rtlCol="0">
              <a:spAutoFit/>
            </a:bodyPr>
            <a:lstStyle/>
            <a:p>
              <a:pPr algn="ctr"/>
              <a:r>
                <a:rPr lang="en-US" sz="1200" dirty="0">
                  <a:solidFill>
                    <a:schemeClr val="bg1"/>
                  </a:solidFill>
                </a:rPr>
                <a:t>Extreme</a:t>
              </a:r>
            </a:p>
          </p:txBody>
        </p:sp>
        <p:pic>
          <p:nvPicPr>
            <p:cNvPr id="136" name="Picture 135" descr="Background pattern&#10;&#10;Description automatically generated">
              <a:extLst>
                <a:ext uri="{FF2B5EF4-FFF2-40B4-BE49-F238E27FC236}">
                  <a16:creationId xmlns:a16="http://schemas.microsoft.com/office/drawing/2014/main" id="{CFBF8BFA-1BE2-4D35-9EE7-E17FCA512D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4595" y="2567243"/>
              <a:ext cx="202154" cy="789872"/>
            </a:xfrm>
            <a:prstGeom prst="rect">
              <a:avLst/>
            </a:prstGeom>
          </p:spPr>
        </p:pic>
        <p:pic>
          <p:nvPicPr>
            <p:cNvPr id="138" name="Picture 137" descr="Background pattern&#10;&#10;Description automatically generated">
              <a:extLst>
                <a:ext uri="{FF2B5EF4-FFF2-40B4-BE49-F238E27FC236}">
                  <a16:creationId xmlns:a16="http://schemas.microsoft.com/office/drawing/2014/main" id="{79124AF9-C192-4D09-80FD-EEA5D0E764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61341" y="4221898"/>
              <a:ext cx="202154" cy="791210"/>
            </a:xfrm>
            <a:prstGeom prst="rect">
              <a:avLst/>
            </a:prstGeom>
          </p:spPr>
        </p:pic>
        <p:pic>
          <p:nvPicPr>
            <p:cNvPr id="140" name="Picture 139" descr="Background pattern&#10;&#10;Description automatically generated">
              <a:extLst>
                <a:ext uri="{FF2B5EF4-FFF2-40B4-BE49-F238E27FC236}">
                  <a16:creationId xmlns:a16="http://schemas.microsoft.com/office/drawing/2014/main" id="{37BA8819-6FEB-4D90-AC30-DDF6B50A7D0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39638" y="4218104"/>
              <a:ext cx="202154" cy="791210"/>
            </a:xfrm>
            <a:prstGeom prst="rect">
              <a:avLst/>
            </a:prstGeom>
          </p:spPr>
        </p:pic>
        <p:pic>
          <p:nvPicPr>
            <p:cNvPr id="141" name="Picture 140" descr="Background pattern&#10;&#10;Description automatically generated">
              <a:extLst>
                <a:ext uri="{FF2B5EF4-FFF2-40B4-BE49-F238E27FC236}">
                  <a16:creationId xmlns:a16="http://schemas.microsoft.com/office/drawing/2014/main" id="{E79FDB04-9C8A-4D86-A110-592A85C7B7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12217" y="4226030"/>
              <a:ext cx="202154" cy="791210"/>
            </a:xfrm>
            <a:prstGeom prst="rect">
              <a:avLst/>
            </a:prstGeom>
          </p:spPr>
        </p:pic>
        <p:pic>
          <p:nvPicPr>
            <p:cNvPr id="142" name="Picture 141" descr="Background pattern&#10;&#10;Description automatically generated">
              <a:extLst>
                <a:ext uri="{FF2B5EF4-FFF2-40B4-BE49-F238E27FC236}">
                  <a16:creationId xmlns:a16="http://schemas.microsoft.com/office/drawing/2014/main" id="{F15B5A5D-EE5B-49B9-B1AD-9F99873807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32336" y="4218104"/>
              <a:ext cx="202154" cy="791210"/>
            </a:xfrm>
            <a:prstGeom prst="rect">
              <a:avLst/>
            </a:prstGeom>
          </p:spPr>
        </p:pic>
        <p:pic>
          <p:nvPicPr>
            <p:cNvPr id="143" name="Picture 142" descr="Background pattern&#10;&#10;Description automatically generated">
              <a:extLst>
                <a:ext uri="{FF2B5EF4-FFF2-40B4-BE49-F238E27FC236}">
                  <a16:creationId xmlns:a16="http://schemas.microsoft.com/office/drawing/2014/main" id="{BC1C4F7B-0825-4793-96E9-E5B79A667A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69144" y="4215756"/>
              <a:ext cx="202154" cy="791210"/>
            </a:xfrm>
            <a:prstGeom prst="rect">
              <a:avLst/>
            </a:prstGeom>
          </p:spPr>
        </p:pic>
        <p:pic>
          <p:nvPicPr>
            <p:cNvPr id="145" name="Picture 144" descr="Background pattern&#10;&#10;Description automatically generated">
              <a:extLst>
                <a:ext uri="{FF2B5EF4-FFF2-40B4-BE49-F238E27FC236}">
                  <a16:creationId xmlns:a16="http://schemas.microsoft.com/office/drawing/2014/main" id="{B3C7F041-FBD6-4A69-A1DD-8299FEDA0C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579312" y="2567243"/>
              <a:ext cx="202154" cy="789872"/>
            </a:xfrm>
            <a:prstGeom prst="rect">
              <a:avLst/>
            </a:prstGeom>
          </p:spPr>
        </p:pic>
        <p:pic>
          <p:nvPicPr>
            <p:cNvPr id="146" name="Picture 145" descr="Background pattern&#10;&#10;Description automatically generated">
              <a:extLst>
                <a:ext uri="{FF2B5EF4-FFF2-40B4-BE49-F238E27FC236}">
                  <a16:creationId xmlns:a16="http://schemas.microsoft.com/office/drawing/2014/main" id="{D87CB484-0CAA-405C-9AE8-7754AFF95A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525" y="2562369"/>
              <a:ext cx="202154" cy="789872"/>
            </a:xfrm>
            <a:prstGeom prst="rect">
              <a:avLst/>
            </a:prstGeom>
          </p:spPr>
        </p:pic>
        <p:pic>
          <p:nvPicPr>
            <p:cNvPr id="147" name="Picture 146" descr="Background pattern&#10;&#10;Description automatically generated">
              <a:extLst>
                <a:ext uri="{FF2B5EF4-FFF2-40B4-BE49-F238E27FC236}">
                  <a16:creationId xmlns:a16="http://schemas.microsoft.com/office/drawing/2014/main" id="{0C021B04-6CAA-4FC5-B2FD-AA439EC026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58147" y="2567881"/>
              <a:ext cx="202154" cy="789872"/>
            </a:xfrm>
            <a:prstGeom prst="rect">
              <a:avLst/>
            </a:prstGeom>
          </p:spPr>
        </p:pic>
        <p:pic>
          <p:nvPicPr>
            <p:cNvPr id="149" name="Picture 148" descr="Background pattern&#10;&#10;Description automatically generated">
              <a:extLst>
                <a:ext uri="{FF2B5EF4-FFF2-40B4-BE49-F238E27FC236}">
                  <a16:creationId xmlns:a16="http://schemas.microsoft.com/office/drawing/2014/main" id="{7CF7F615-8BA3-48D5-86DB-604D55ECDF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2739" y="2566171"/>
              <a:ext cx="202154" cy="789872"/>
            </a:xfrm>
            <a:prstGeom prst="rect">
              <a:avLst/>
            </a:prstGeom>
          </p:spPr>
        </p:pic>
        <p:pic>
          <p:nvPicPr>
            <p:cNvPr id="151" name="Picture 150">
              <a:extLst>
                <a:ext uri="{FF2B5EF4-FFF2-40B4-BE49-F238E27FC236}">
                  <a16:creationId xmlns:a16="http://schemas.microsoft.com/office/drawing/2014/main" id="{EA1A4802-5538-4EA8-965C-6BD2E81B08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59755" y="3397236"/>
              <a:ext cx="202154" cy="789872"/>
            </a:xfrm>
            <a:prstGeom prst="rect">
              <a:avLst/>
            </a:prstGeom>
          </p:spPr>
        </p:pic>
        <p:pic>
          <p:nvPicPr>
            <p:cNvPr id="152" name="Picture 151" descr="Background pattern&#10;&#10;Description automatically generated">
              <a:extLst>
                <a:ext uri="{FF2B5EF4-FFF2-40B4-BE49-F238E27FC236}">
                  <a16:creationId xmlns:a16="http://schemas.microsoft.com/office/drawing/2014/main" id="{3782E987-0952-47F7-A5F4-A8EBB169E5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28193" y="4218525"/>
              <a:ext cx="202154" cy="791210"/>
            </a:xfrm>
            <a:prstGeom prst="rect">
              <a:avLst/>
            </a:prstGeom>
          </p:spPr>
        </p:pic>
        <p:pic>
          <p:nvPicPr>
            <p:cNvPr id="153" name="Picture 152" descr="Background pattern&#10;&#10;Description automatically generated">
              <a:extLst>
                <a:ext uri="{FF2B5EF4-FFF2-40B4-BE49-F238E27FC236}">
                  <a16:creationId xmlns:a16="http://schemas.microsoft.com/office/drawing/2014/main" id="{7A78337D-8364-4927-B78E-2045D011926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2389" y="2576734"/>
              <a:ext cx="202154" cy="789872"/>
            </a:xfrm>
            <a:prstGeom prst="rect">
              <a:avLst/>
            </a:prstGeom>
          </p:spPr>
        </p:pic>
        <p:pic>
          <p:nvPicPr>
            <p:cNvPr id="155" name="Picture 154">
              <a:extLst>
                <a:ext uri="{FF2B5EF4-FFF2-40B4-BE49-F238E27FC236}">
                  <a16:creationId xmlns:a16="http://schemas.microsoft.com/office/drawing/2014/main" id="{2F376E9F-A3A7-4582-9708-8F8F8FF2A54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42083" y="3392473"/>
              <a:ext cx="202154" cy="789872"/>
            </a:xfrm>
            <a:prstGeom prst="rect">
              <a:avLst/>
            </a:prstGeom>
          </p:spPr>
        </p:pic>
        <p:pic>
          <p:nvPicPr>
            <p:cNvPr id="156" name="Picture 155">
              <a:extLst>
                <a:ext uri="{FF2B5EF4-FFF2-40B4-BE49-F238E27FC236}">
                  <a16:creationId xmlns:a16="http://schemas.microsoft.com/office/drawing/2014/main" id="{F875815A-B74E-4672-AA34-E89868BF7BB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81303" y="3392473"/>
              <a:ext cx="202154" cy="789872"/>
            </a:xfrm>
            <a:prstGeom prst="rect">
              <a:avLst/>
            </a:prstGeom>
          </p:spPr>
        </p:pic>
        <p:pic>
          <p:nvPicPr>
            <p:cNvPr id="158" name="Picture 157">
              <a:extLst>
                <a:ext uri="{FF2B5EF4-FFF2-40B4-BE49-F238E27FC236}">
                  <a16:creationId xmlns:a16="http://schemas.microsoft.com/office/drawing/2014/main" id="{68FEE0D2-7EBA-4B9A-8A21-C846CBF60BB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20862" y="3392473"/>
              <a:ext cx="202154" cy="789872"/>
            </a:xfrm>
            <a:prstGeom prst="rect">
              <a:avLst/>
            </a:prstGeom>
          </p:spPr>
        </p:pic>
        <p:pic>
          <p:nvPicPr>
            <p:cNvPr id="159" name="Picture 158">
              <a:extLst>
                <a:ext uri="{FF2B5EF4-FFF2-40B4-BE49-F238E27FC236}">
                  <a16:creationId xmlns:a16="http://schemas.microsoft.com/office/drawing/2014/main" id="{1B483DD6-5BB7-4FFC-8A38-37FDFEE781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04064" y="3392473"/>
              <a:ext cx="202154" cy="789872"/>
            </a:xfrm>
            <a:prstGeom prst="rect">
              <a:avLst/>
            </a:prstGeom>
          </p:spPr>
        </p:pic>
        <p:pic>
          <p:nvPicPr>
            <p:cNvPr id="137" name="Picture 136" descr="Background pattern&#10;&#10;Description automatically generated">
              <a:extLst>
                <a:ext uri="{FF2B5EF4-FFF2-40B4-BE49-F238E27FC236}">
                  <a16:creationId xmlns:a16="http://schemas.microsoft.com/office/drawing/2014/main" id="{B7D7BD8A-E65F-47FF-8C2E-14E5BC172B6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86947" y="4213588"/>
              <a:ext cx="202154" cy="791210"/>
            </a:xfrm>
            <a:prstGeom prst="rect">
              <a:avLst/>
            </a:prstGeom>
          </p:spPr>
        </p:pic>
        <p:pic>
          <p:nvPicPr>
            <p:cNvPr id="148" name="Picture 147">
              <a:extLst>
                <a:ext uri="{FF2B5EF4-FFF2-40B4-BE49-F238E27FC236}">
                  <a16:creationId xmlns:a16="http://schemas.microsoft.com/office/drawing/2014/main" id="{542F705F-6A33-4A6C-8BA6-72486572839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31817" y="3396706"/>
              <a:ext cx="202154" cy="789872"/>
            </a:xfrm>
            <a:prstGeom prst="rect">
              <a:avLst/>
            </a:prstGeom>
          </p:spPr>
        </p:pic>
      </p:grpSp>
      <p:pic>
        <p:nvPicPr>
          <p:cNvPr id="161" name="Picture 160">
            <a:extLst>
              <a:ext uri="{FF2B5EF4-FFF2-40B4-BE49-F238E27FC236}">
                <a16:creationId xmlns:a16="http://schemas.microsoft.com/office/drawing/2014/main" id="{0BACBA56-DBB2-4B35-B38C-52E2E706F446}"/>
              </a:ext>
            </a:extLst>
          </p:cNvPr>
          <p:cNvPicPr>
            <a:picLocks noChangeAspect="1"/>
          </p:cNvPicPr>
          <p:nvPr/>
        </p:nvPicPr>
        <p:blipFill>
          <a:blip r:embed="rId10"/>
          <a:srcRect/>
          <a:stretch/>
        </p:blipFill>
        <p:spPr>
          <a:xfrm>
            <a:off x="10376033" y="279672"/>
            <a:ext cx="1480466" cy="404539"/>
          </a:xfrm>
          <a:prstGeom prst="rect">
            <a:avLst/>
          </a:prstGeom>
        </p:spPr>
      </p:pic>
      <p:pic>
        <p:nvPicPr>
          <p:cNvPr id="162" name="Picture 161">
            <a:extLst>
              <a:ext uri="{FF2B5EF4-FFF2-40B4-BE49-F238E27FC236}">
                <a16:creationId xmlns:a16="http://schemas.microsoft.com/office/drawing/2014/main" id="{CDF5AE7C-BA28-ABAB-B343-49330C26115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22848" y="3442191"/>
            <a:ext cx="202154" cy="789872"/>
          </a:xfrm>
          <a:prstGeom prst="rect">
            <a:avLst/>
          </a:prstGeom>
        </p:spPr>
      </p:pic>
    </p:spTree>
    <p:extLst>
      <p:ext uri="{BB962C8B-B14F-4D97-AF65-F5344CB8AC3E}">
        <p14:creationId xmlns:p14="http://schemas.microsoft.com/office/powerpoint/2010/main" val="1332164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descr="© INSCALE GmbH, 05.05.2010 http://www.presentationload.com/">
            <a:extLst>
              <a:ext uri="{FF2B5EF4-FFF2-40B4-BE49-F238E27FC236}">
                <a16:creationId xmlns:a16="http://schemas.microsoft.com/office/drawing/2014/main" id="{A8F486E5-D6C6-4015-90A3-90563014757D}"/>
              </a:ext>
            </a:extLst>
          </p:cNvPr>
          <p:cNvSpPr txBox="1">
            <a:spLocks noGrp="1" noChangeArrowheads="1"/>
          </p:cNvSpPr>
          <p:nvPr>
            <p:ph type="title"/>
            <p:custDataLst>
              <p:tags r:id="rId1"/>
            </p:custDataLst>
          </p:nvPr>
        </p:nvSpPr>
        <p:spPr bwMode="gray">
          <a:xfrm>
            <a:off x="1524000" y="110907"/>
            <a:ext cx="9144000" cy="430632"/>
          </a:xfrm>
          <a:prstGeom prst="rect">
            <a:avLst/>
          </a:prstGeom>
          <a:noFill/>
          <a:ln>
            <a:noFill/>
          </a:ln>
        </p:spPr>
        <p:txBody>
          <a:bodyPr vert="horz" lIns="91440" tIns="45720" rIns="91440" bIns="45720" rtlCol="0" anchor="b" anchorCtr="0">
            <a:noAutofit/>
          </a:bodyPr>
          <a:lstStyle>
            <a:lvl1pPr algn="l" defTabSz="457200" rtl="0" eaLnBrk="1" latinLnBrk="0" hangingPunct="1">
              <a:spcBef>
                <a:spcPct val="0"/>
              </a:spcBef>
              <a:buNone/>
              <a:defRPr sz="2800" b="0" i="0" kern="1200">
                <a:solidFill>
                  <a:schemeClr val="tx1"/>
                </a:solidFill>
                <a:latin typeface="Calibri Light" panose="020F0302020204030204" pitchFamily="34" charset="0"/>
                <a:ea typeface="+mj-ea"/>
                <a:cs typeface="Calibri Light" panose="020F0302020204030204" pitchFamily="34" charset="0"/>
              </a:defRPr>
            </a:lvl1pPr>
          </a:lstStyle>
          <a:p>
            <a:pPr algn="ctr">
              <a:spcBef>
                <a:spcPts val="600"/>
              </a:spcBef>
              <a:spcAft>
                <a:spcPts val="600"/>
              </a:spcAft>
            </a:pPr>
            <a:r>
              <a:rPr lang="de-DE" sz="2400" noProof="1">
                <a:solidFill>
                  <a:schemeClr val="bg1"/>
                </a:solidFill>
                <a:effectLst>
                  <a:outerShdw blurRad="38100" dist="38100" dir="2700000" algn="tl">
                    <a:srgbClr val="000000">
                      <a:alpha val="43137"/>
                    </a:srgbClr>
                  </a:outerShdw>
                </a:effectLst>
                <a:latin typeface="+mn-lt"/>
              </a:rPr>
              <a:t>PLSO | Forecast of Events </a:t>
            </a:r>
            <a:endParaRPr lang="de-DE" sz="2400" dirty="0">
              <a:solidFill>
                <a:schemeClr val="bg1"/>
              </a:solidFill>
              <a:effectLst>
                <a:outerShdw blurRad="38100" dist="38100" dir="2700000" algn="tl">
                  <a:srgbClr val="000000">
                    <a:alpha val="43137"/>
                  </a:srgbClr>
                </a:outerShdw>
              </a:effectLst>
              <a:latin typeface="+mn-lt"/>
            </a:endParaRPr>
          </a:p>
        </p:txBody>
      </p:sp>
      <p:graphicFrame>
        <p:nvGraphicFramePr>
          <p:cNvPr id="5" name="Table 3">
            <a:extLst>
              <a:ext uri="{FF2B5EF4-FFF2-40B4-BE49-F238E27FC236}">
                <a16:creationId xmlns:a16="http://schemas.microsoft.com/office/drawing/2014/main" id="{3271ADBE-3868-0D73-53CD-BCA4EBB272D1}"/>
              </a:ext>
            </a:extLst>
          </p:cNvPr>
          <p:cNvGraphicFramePr>
            <a:graphicFrameLocks noGrp="1"/>
          </p:cNvGraphicFramePr>
          <p:nvPr>
            <p:extLst>
              <p:ext uri="{D42A27DB-BD31-4B8C-83A1-F6EECF244321}">
                <p14:modId xmlns:p14="http://schemas.microsoft.com/office/powerpoint/2010/main" val="1015407629"/>
              </p:ext>
            </p:extLst>
          </p:nvPr>
        </p:nvGraphicFramePr>
        <p:xfrm>
          <a:off x="364642" y="844060"/>
          <a:ext cx="11462717" cy="5666231"/>
        </p:xfrm>
        <a:graphic>
          <a:graphicData uri="http://schemas.openxmlformats.org/drawingml/2006/table">
            <a:tbl>
              <a:tblPr firstRow="1" bandRow="1"/>
              <a:tblGrid>
                <a:gridCol w="1643467">
                  <a:extLst>
                    <a:ext uri="{9D8B030D-6E8A-4147-A177-3AD203B41FA5}">
                      <a16:colId xmlns:a16="http://schemas.microsoft.com/office/drawing/2014/main" val="403802867"/>
                    </a:ext>
                  </a:extLst>
                </a:gridCol>
                <a:gridCol w="1631852">
                  <a:extLst>
                    <a:ext uri="{9D8B030D-6E8A-4147-A177-3AD203B41FA5}">
                      <a16:colId xmlns:a16="http://schemas.microsoft.com/office/drawing/2014/main" val="1930038780"/>
                    </a:ext>
                  </a:extLst>
                </a:gridCol>
                <a:gridCol w="1645920">
                  <a:extLst>
                    <a:ext uri="{9D8B030D-6E8A-4147-A177-3AD203B41FA5}">
                      <a16:colId xmlns:a16="http://schemas.microsoft.com/office/drawing/2014/main" val="3459748613"/>
                    </a:ext>
                  </a:extLst>
                </a:gridCol>
                <a:gridCol w="1575582">
                  <a:extLst>
                    <a:ext uri="{9D8B030D-6E8A-4147-A177-3AD203B41FA5}">
                      <a16:colId xmlns:a16="http://schemas.microsoft.com/office/drawing/2014/main" val="2307723437"/>
                    </a:ext>
                  </a:extLst>
                </a:gridCol>
                <a:gridCol w="1621355">
                  <a:extLst>
                    <a:ext uri="{9D8B030D-6E8A-4147-A177-3AD203B41FA5}">
                      <a16:colId xmlns:a16="http://schemas.microsoft.com/office/drawing/2014/main" val="2945448741"/>
                    </a:ext>
                  </a:extLst>
                </a:gridCol>
                <a:gridCol w="1631853">
                  <a:extLst>
                    <a:ext uri="{9D8B030D-6E8A-4147-A177-3AD203B41FA5}">
                      <a16:colId xmlns:a16="http://schemas.microsoft.com/office/drawing/2014/main" val="528020589"/>
                    </a:ext>
                  </a:extLst>
                </a:gridCol>
                <a:gridCol w="1712688">
                  <a:extLst>
                    <a:ext uri="{9D8B030D-6E8A-4147-A177-3AD203B41FA5}">
                      <a16:colId xmlns:a16="http://schemas.microsoft.com/office/drawing/2014/main" val="283517461"/>
                    </a:ext>
                  </a:extLst>
                </a:gridCol>
              </a:tblGrid>
              <a:tr h="34841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Mon 29 Jan </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Tue 30 Jan</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Wed 31 Jan</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Thu 01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Fri 02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Sat 03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Sun 04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4232294301"/>
                  </a:ext>
                </a:extLst>
              </a:tr>
              <a:tr h="97725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t>SFP Roundtable</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t>Virtual – 2pm</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dirty="0"/>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dirty="0"/>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dirty="0"/>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dirty="0"/>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3304727975"/>
                  </a:ext>
                </a:extLst>
              </a:tr>
              <a:tr h="51783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Mon 05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Tue 06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Wed 07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Thu 08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Fri 09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Sat 10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Sun 11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extLst>
                  <a:ext uri="{0D108BD9-81ED-4DB2-BD59-A6C34878D82A}">
                    <a16:rowId xmlns:a16="http://schemas.microsoft.com/office/drawing/2014/main" val="702136611"/>
                  </a:ext>
                </a:extLst>
              </a:tr>
              <a:tr h="924482">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sz="1200" dirty="0"/>
                        <a:t>Field Visits</a:t>
                      </a:r>
                    </a:p>
                    <a:p>
                      <a:pPr algn="ctr"/>
                      <a:r>
                        <a:rPr lang="en-US" sz="1200" dirty="0"/>
                        <a:t>Benue - Delta</a:t>
                      </a: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Field Visits</a:t>
                      </a:r>
                    </a:p>
                    <a:p>
                      <a:pPr algn="ctr"/>
                      <a:r>
                        <a:rPr kumimoji="0" lang="en-US" sz="1200" b="0" i="0" u="none" strike="noStrike" kern="1200" cap="none" spc="0" normalizeH="0" baseline="0" noProof="0" dirty="0">
                          <a:ln>
                            <a:noFill/>
                          </a:ln>
                          <a:solidFill>
                            <a:prstClr val="black"/>
                          </a:solidFill>
                          <a:effectLst/>
                          <a:uLnTx/>
                          <a:uFillTx/>
                          <a:latin typeface="Gill Sans MT"/>
                          <a:ea typeface="+mn-ea"/>
                          <a:cs typeface="+mn-cs"/>
                        </a:rPr>
                        <a:t>Benue – Delta</a:t>
                      </a:r>
                    </a:p>
                    <a:p>
                      <a:pPr algn="ctr"/>
                      <a:r>
                        <a:rPr lang="en-US" sz="1200" dirty="0">
                          <a:latin typeface="+mn-lt"/>
                        </a:rPr>
                        <a:t>Staff Safety and Security Awareness</a:t>
                      </a:r>
                    </a:p>
                    <a:p>
                      <a:pPr algn="ctr"/>
                      <a:r>
                        <a:rPr lang="en-US" sz="1200" dirty="0">
                          <a:latin typeface="+mn-lt"/>
                        </a:rPr>
                        <a:t>Virtual </a:t>
                      </a:r>
                      <a:r>
                        <a:rPr lang="en-US" sz="1200">
                          <a:latin typeface="+mn-lt"/>
                        </a:rPr>
                        <a:t>– 10am</a:t>
                      </a:r>
                      <a:endParaRPr kumimoji="0" lang="en-US" sz="1200" b="0" i="0" u="none" strike="noStrike" kern="1200" cap="none" spc="0" normalizeH="0" baseline="0" noProof="0" dirty="0">
                        <a:ln>
                          <a:noFill/>
                        </a:ln>
                        <a:solidFill>
                          <a:prstClr val="black"/>
                        </a:solidFill>
                        <a:effectLst/>
                        <a:uLnTx/>
                        <a:uFillTx/>
                        <a:latin typeface="Gill Sans MT"/>
                        <a:ea typeface="+mn-ea"/>
                        <a:cs typeface="+mn-cs"/>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ill Sans MT"/>
                          <a:ea typeface="+mn-ea"/>
                          <a:cs typeface="+mn-cs"/>
                        </a:rPr>
                        <a:t>Field Visi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ill Sans MT"/>
                          <a:ea typeface="+mn-ea"/>
                          <a:cs typeface="+mn-cs"/>
                        </a:rPr>
                        <a:t>Benue - Delta</a:t>
                      </a:r>
                      <a:endParaRPr kumimoji="0" lang="en-US" sz="1200" b="0" i="0" u="none" strike="noStrike" kern="1200" cap="none" spc="0" normalizeH="0" baseline="0" noProof="0" dirty="0">
                        <a:ln>
                          <a:noFill/>
                        </a:ln>
                        <a:solidFill>
                          <a:prstClr val="black"/>
                        </a:solidFill>
                        <a:effectLst/>
                        <a:uLnTx/>
                        <a:uFillTx/>
                        <a:latin typeface="Gill Sans MT"/>
                        <a:ea typeface="+mn-ea"/>
                        <a:cs typeface="+mn-cs"/>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Field Visi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Benue – Delt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Situation Report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In-Person – 10am</a:t>
                      </a: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Field Visi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Benue - Delta</a:t>
                      </a: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GB" sz="1200" dirty="0"/>
                    </a:p>
                    <a:p>
                      <a:pPr algn="ctr"/>
                      <a:endParaRPr lang="en-US" sz="1200" dirty="0"/>
                    </a:p>
                    <a:p>
                      <a:pPr algn="ctr"/>
                      <a:endParaRPr lang="en-US" sz="1200" dirty="0"/>
                    </a:p>
                    <a:p>
                      <a:pPr algn="ctr"/>
                      <a:endParaRPr lang="en-US" sz="1200" dirty="0"/>
                    </a:p>
                  </a:txBody>
                  <a:tcP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2513308325"/>
                  </a:ext>
                </a:extLst>
              </a:tr>
              <a:tr h="34841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Mon 12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Tue 13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Wed 14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Thu 15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Fri 16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Sat 17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Sun 18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extLst>
                  <a:ext uri="{0D108BD9-81ED-4DB2-BD59-A6C34878D82A}">
                    <a16:rowId xmlns:a16="http://schemas.microsoft.com/office/drawing/2014/main" val="4047449174"/>
                  </a:ext>
                </a:extLst>
              </a:tr>
              <a:tr h="97360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US" dirty="0"/>
                    </a:p>
                  </a:txBody>
                  <a:tcPr anchor="ctr">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sz="1200" dirty="0">
                          <a:latin typeface="+mn-lt"/>
                        </a:rPr>
                        <a:t>Safe Driver Training</a:t>
                      </a:r>
                    </a:p>
                    <a:p>
                      <a:pPr algn="ctr"/>
                      <a:r>
                        <a:rPr lang="en-US" sz="1200" dirty="0">
                          <a:latin typeface="+mn-lt"/>
                        </a:rPr>
                        <a:t>Virtual - 10am</a:t>
                      </a:r>
                    </a:p>
                    <a:p>
                      <a:pPr algn="ctr"/>
                      <a:endParaRPr lang="en-US" sz="1200" dirty="0">
                        <a:latin typeface="+mn-lt"/>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latin typeface="+mn-lt"/>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US" dirty="0"/>
                    </a:p>
                  </a:txBody>
                  <a:tcPr anchor="ct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US" dirty="0"/>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p>
                  </a:txBody>
                  <a:tcP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p>
                  </a:txBody>
                  <a:tcP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2496294609"/>
                  </a:ext>
                </a:extLst>
              </a:tr>
              <a:tr h="348416">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Mon 19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Tue 20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Wed 21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Thu 22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Fri 23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Sat 24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GB" sz="1200" b="1" dirty="0">
                          <a:solidFill>
                            <a:schemeClr val="bg1"/>
                          </a:solidFill>
                        </a:rPr>
                        <a:t>Sun 25 Feb</a:t>
                      </a:r>
                      <a:endParaRPr lang="en-US" sz="1200" b="1" dirty="0">
                        <a:solidFill>
                          <a:schemeClr val="bg1"/>
                        </a:solidFill>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02F6C"/>
                    </a:solidFill>
                  </a:tcPr>
                </a:tc>
                <a:extLst>
                  <a:ext uri="{0D108BD9-81ED-4DB2-BD59-A6C34878D82A}">
                    <a16:rowId xmlns:a16="http://schemas.microsoft.com/office/drawing/2014/main" val="3453122386"/>
                  </a:ext>
                </a:extLst>
              </a:tr>
              <a:tr h="1146448">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latin typeface="+mj-lt"/>
                      </a:endParaRPr>
                    </a:p>
                    <a:p>
                      <a:pPr algn="ctr"/>
                      <a:r>
                        <a:rPr lang="en-US" sz="1200" dirty="0">
                          <a:latin typeface="+mj-lt"/>
                        </a:rPr>
                        <a:t>Field Visits</a:t>
                      </a:r>
                    </a:p>
                    <a:p>
                      <a:pPr algn="ctr"/>
                      <a:r>
                        <a:rPr lang="en-US" sz="1200" dirty="0">
                          <a:latin typeface="+mj-lt"/>
                        </a:rPr>
                        <a:t>Kano State</a:t>
                      </a:r>
                    </a:p>
                    <a:p>
                      <a:endParaRPr lang="en-US" dirty="0"/>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lumMod val="75000"/>
                      </a:srgb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Field Visi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Kano Sta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SFP Level 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In-Person – 10am</a:t>
                      </a: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lumMod val="75000"/>
                      </a:srgb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Field Visi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Kano Sta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CoP Level 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In-Person – 10am</a:t>
                      </a: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Field Visi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Kano State</a:t>
                      </a: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Field Visi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ill Sans MT"/>
                          <a:ea typeface="+mn-ea"/>
                          <a:cs typeface="+mn-cs"/>
                        </a:rPr>
                        <a:t>Kano State</a:t>
                      </a:r>
                    </a:p>
                  </a:txBody>
                  <a:tcPr anchor="ct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endParaRPr lang="en-US" sz="1200" dirty="0"/>
                    </a:p>
                  </a:txBody>
                  <a:tcP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lumMod val="7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en-US" sz="1200" dirty="0"/>
                    </a:p>
                  </a:txBody>
                  <a:tcPr>
                    <a:lnL w="12700" cmpd="sng">
                      <a:solidFill>
                        <a:prstClr val="black"/>
                      </a:solidFill>
                      <a:prstDash val="soli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3312691394"/>
                  </a:ext>
                </a:extLst>
              </a:tr>
            </a:tbl>
          </a:graphicData>
        </a:graphic>
      </p:graphicFrame>
    </p:spTree>
    <p:extLst>
      <p:ext uri="{BB962C8B-B14F-4D97-AF65-F5344CB8AC3E}">
        <p14:creationId xmlns:p14="http://schemas.microsoft.com/office/powerpoint/2010/main" val="392920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57D3155-6872-4C9F-B811-CF366ED00BD7}"/>
              </a:ext>
            </a:extLst>
          </p:cNvPr>
          <p:cNvSpPr txBox="1"/>
          <p:nvPr/>
        </p:nvSpPr>
        <p:spPr>
          <a:xfrm>
            <a:off x="1723671" y="141734"/>
            <a:ext cx="8788893" cy="646331"/>
          </a:xfrm>
          <a:prstGeom prst="rect">
            <a:avLst/>
          </a:prstGeom>
          <a:noFill/>
        </p:spPr>
        <p:txBody>
          <a:bodyPr wrap="square" rtlCol="0">
            <a:spAutoFit/>
          </a:bodyPr>
          <a:lstStyle/>
          <a:p>
            <a:pPr algn="ctr"/>
            <a:r>
              <a:rPr lang="en-US" sz="3600" b="1" dirty="0">
                <a:solidFill>
                  <a:schemeClr val="bg1"/>
                </a:solidFill>
              </a:rPr>
              <a:t>Field Visit - Considerations</a:t>
            </a:r>
          </a:p>
        </p:txBody>
      </p:sp>
      <p:grpSp>
        <p:nvGrpSpPr>
          <p:cNvPr id="3" name="Group 2">
            <a:extLst>
              <a:ext uri="{FF2B5EF4-FFF2-40B4-BE49-F238E27FC236}">
                <a16:creationId xmlns:a16="http://schemas.microsoft.com/office/drawing/2014/main" id="{3208C0DF-55E5-4F9A-9447-F428D841C7FE}"/>
              </a:ext>
            </a:extLst>
          </p:cNvPr>
          <p:cNvGrpSpPr/>
          <p:nvPr/>
        </p:nvGrpSpPr>
        <p:grpSpPr>
          <a:xfrm>
            <a:off x="47251" y="845716"/>
            <a:ext cx="12109237" cy="5958803"/>
            <a:chOff x="585043" y="846330"/>
            <a:chExt cx="11339796" cy="5958803"/>
          </a:xfrm>
        </p:grpSpPr>
        <p:sp>
          <p:nvSpPr>
            <p:cNvPr id="9" name="Rectangle 8">
              <a:extLst>
                <a:ext uri="{FF2B5EF4-FFF2-40B4-BE49-F238E27FC236}">
                  <a16:creationId xmlns:a16="http://schemas.microsoft.com/office/drawing/2014/main" id="{6628A534-7D26-44E9-B6BC-74BB41594EC4}"/>
                </a:ext>
              </a:extLst>
            </p:cNvPr>
            <p:cNvSpPr/>
            <p:nvPr/>
          </p:nvSpPr>
          <p:spPr>
            <a:xfrm>
              <a:off x="6133950" y="846330"/>
              <a:ext cx="5790889" cy="5745594"/>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BAB8C8B2-C19A-4877-9C57-E3D6D748AC20}"/>
                </a:ext>
              </a:extLst>
            </p:cNvPr>
            <p:cNvSpPr txBox="1"/>
            <p:nvPr/>
          </p:nvSpPr>
          <p:spPr>
            <a:xfrm>
              <a:off x="6216189" y="846330"/>
              <a:ext cx="5491693" cy="5816977"/>
            </a:xfrm>
            <a:prstGeom prst="rect">
              <a:avLst/>
            </a:prstGeom>
            <a:noFill/>
          </p:spPr>
          <p:txBody>
            <a:bodyPr wrap="square" rtlCol="0">
              <a:spAutoFit/>
            </a:bodyPr>
            <a:lstStyle/>
            <a:p>
              <a:pPr>
                <a:spcBef>
                  <a:spcPts val="600"/>
                </a:spcBef>
              </a:pPr>
              <a:r>
                <a:rPr lang="en-US" sz="1400" b="1" dirty="0">
                  <a:solidFill>
                    <a:schemeClr val="tx2"/>
                  </a:solidFill>
                </a:rPr>
                <a:t>3. Journey Management Planning (JMP)</a:t>
              </a:r>
            </a:p>
            <a:p>
              <a:pPr marL="285750" indent="-120650">
                <a:spcBef>
                  <a:spcPts val="600"/>
                </a:spcBef>
                <a:buFont typeface="Arial" panose="020B0604020202020204" pitchFamily="34" charset="0"/>
                <a:buChar char="•"/>
              </a:pPr>
              <a:r>
                <a:rPr lang="en-US" sz="1200" dirty="0"/>
                <a:t>Use local drivers.</a:t>
              </a:r>
            </a:p>
            <a:p>
              <a:pPr marL="285750" indent="-120650">
                <a:spcBef>
                  <a:spcPts val="600"/>
                </a:spcBef>
                <a:buFont typeface="Arial" panose="020B0604020202020204" pitchFamily="34" charset="0"/>
                <a:buChar char="•"/>
              </a:pPr>
              <a:r>
                <a:rPr lang="en-US" sz="1200" dirty="0"/>
                <a:t>Identify route and alternative routes.</a:t>
              </a:r>
            </a:p>
            <a:p>
              <a:pPr marL="285750" indent="-120650">
                <a:spcBef>
                  <a:spcPts val="600"/>
                </a:spcBef>
                <a:buFont typeface="Arial" panose="020B0604020202020204" pitchFamily="34" charset="0"/>
                <a:buChar char="•"/>
              </a:pPr>
              <a:r>
                <a:rPr lang="en-US" sz="1200" dirty="0"/>
                <a:t>Ensure the JMP includes Emergency Contact Details for the following: Logistics, SFP, GSF, Community Liaison, other stakeholders to include Security, Vehicle Breakdown service, medical, LGA contact.</a:t>
              </a:r>
            </a:p>
            <a:p>
              <a:pPr marL="285750" indent="-120650">
                <a:spcBef>
                  <a:spcPts val="600"/>
                </a:spcBef>
                <a:buFont typeface="Arial" panose="020B0604020202020204" pitchFamily="34" charset="0"/>
                <a:buChar char="•"/>
              </a:pPr>
              <a:r>
                <a:rPr lang="en-US" sz="1200" dirty="0"/>
                <a:t>Ensure drivers take frequent breaks at known safe havens and follow established check-in protocols. </a:t>
              </a:r>
            </a:p>
            <a:p>
              <a:pPr marL="285750" indent="-120650">
                <a:spcBef>
                  <a:spcPts val="600"/>
                </a:spcBef>
                <a:buFont typeface="Arial" panose="020B0604020202020204" pitchFamily="34" charset="0"/>
                <a:buChar char="•"/>
              </a:pPr>
              <a:r>
                <a:rPr lang="en-US" sz="1200" dirty="0"/>
                <a:t>In-Vehicle Monitoring System (active and who is monitoring the road move).</a:t>
              </a:r>
            </a:p>
            <a:p>
              <a:pPr marL="285750" indent="-120650">
                <a:spcBef>
                  <a:spcPts val="600"/>
                </a:spcBef>
                <a:buFont typeface="Arial" panose="020B0604020202020204" pitchFamily="34" charset="0"/>
                <a:buChar char="•"/>
              </a:pPr>
              <a:r>
                <a:rPr lang="en-US" sz="1200" dirty="0"/>
                <a:t>Ensure the JMP is approved by senior management.</a:t>
              </a:r>
            </a:p>
            <a:p>
              <a:pPr>
                <a:spcBef>
                  <a:spcPts val="600"/>
                </a:spcBef>
              </a:pPr>
              <a:r>
                <a:rPr lang="en-US" sz="1400" b="1" dirty="0">
                  <a:solidFill>
                    <a:schemeClr val="tx2"/>
                  </a:solidFill>
                </a:rPr>
                <a:t>4. Conduct during Field Trip</a:t>
              </a:r>
            </a:p>
            <a:p>
              <a:pPr marL="285750" indent="-120650">
                <a:spcBef>
                  <a:spcPts val="600"/>
                </a:spcBef>
                <a:buFont typeface="Arial" panose="020B0604020202020204" pitchFamily="34" charset="0"/>
                <a:buChar char="•"/>
              </a:pPr>
              <a:r>
                <a:rPr lang="en-US" sz="1200" dirty="0"/>
                <a:t>Secure your vehicles, drivers to always remain with vehicles.</a:t>
              </a:r>
            </a:p>
            <a:p>
              <a:pPr marL="285750" indent="-120650">
                <a:spcBef>
                  <a:spcPts val="600"/>
                </a:spcBef>
                <a:buFont typeface="Arial" panose="020B0604020202020204" pitchFamily="34" charset="0"/>
                <a:buChar char="•"/>
              </a:pPr>
              <a:r>
                <a:rPr lang="en-US" sz="1200" dirty="0"/>
                <a:t>Inform Security Management of your arrival in the field.</a:t>
              </a:r>
            </a:p>
            <a:p>
              <a:pPr marL="285750" indent="-120650">
                <a:spcBef>
                  <a:spcPts val="600"/>
                </a:spcBef>
                <a:buFont typeface="Arial" panose="020B0604020202020204" pitchFamily="34" charset="0"/>
                <a:buChar char="•"/>
              </a:pPr>
              <a:r>
                <a:rPr lang="en-US" sz="1200" dirty="0"/>
                <a:t>Always maintain situational awareness.</a:t>
              </a:r>
            </a:p>
            <a:p>
              <a:pPr marL="285750" indent="-120650">
                <a:spcBef>
                  <a:spcPts val="600"/>
                </a:spcBef>
                <a:buFont typeface="Arial" panose="020B0604020202020204" pitchFamily="34" charset="0"/>
                <a:buChar char="•"/>
              </a:pPr>
              <a:r>
                <a:rPr lang="en-US" sz="1200" dirty="0"/>
                <a:t>Identify safe havens, local police stations and others.</a:t>
              </a:r>
            </a:p>
            <a:p>
              <a:pPr marL="285750" indent="-120650">
                <a:spcBef>
                  <a:spcPts val="600"/>
                </a:spcBef>
                <a:buFont typeface="Arial" panose="020B0604020202020204" pitchFamily="34" charset="0"/>
                <a:buChar char="•"/>
              </a:pPr>
              <a:r>
                <a:rPr lang="en-US" sz="1200" dirty="0"/>
                <a:t>Ensure drivers know the routes to local safe havens and hospitals.</a:t>
              </a:r>
            </a:p>
            <a:p>
              <a:pPr marL="285750" indent="-120650">
                <a:spcBef>
                  <a:spcPts val="600"/>
                </a:spcBef>
                <a:buFont typeface="Arial" panose="020B0604020202020204" pitchFamily="34" charset="0"/>
                <a:buChar char="•"/>
              </a:pPr>
              <a:r>
                <a:rPr lang="en-GB" sz="1200" dirty="0"/>
                <a:t>Always maintain contact with community representatives and liaison officers</a:t>
              </a:r>
              <a:r>
                <a:rPr lang="en-US" sz="1200" dirty="0"/>
                <a:t>.</a:t>
              </a:r>
            </a:p>
            <a:p>
              <a:pPr marL="285750" indent="-120650">
                <a:spcBef>
                  <a:spcPts val="600"/>
                </a:spcBef>
                <a:buFont typeface="Arial" panose="020B0604020202020204" pitchFamily="34" charset="0"/>
                <a:buChar char="•"/>
              </a:pPr>
              <a:r>
                <a:rPr lang="en-US" sz="1200" dirty="0"/>
                <a:t>In the event of a security incident, send an immediate SITREP to country management team and PLSO, so that we can alert other IPs in the area.</a:t>
              </a:r>
            </a:p>
            <a:p>
              <a:pPr marL="285750" indent="-120650">
                <a:spcBef>
                  <a:spcPts val="600"/>
                </a:spcBef>
                <a:buFont typeface="Arial" panose="020B0604020202020204" pitchFamily="34" charset="0"/>
                <a:buChar char="•"/>
              </a:pPr>
              <a:r>
                <a:rPr lang="en-US" sz="1200" dirty="0"/>
                <a:t>Inform security management when you depart the field.</a:t>
              </a:r>
            </a:p>
            <a:p>
              <a:pPr>
                <a:spcBef>
                  <a:spcPts val="600"/>
                </a:spcBef>
              </a:pPr>
              <a:r>
                <a:rPr lang="en-US" sz="1400" b="1" dirty="0">
                  <a:solidFill>
                    <a:schemeClr val="tx2"/>
                  </a:solidFill>
                </a:rPr>
                <a:t>5. Post visit actions</a:t>
              </a:r>
            </a:p>
            <a:p>
              <a:pPr marL="285750" indent="-120650">
                <a:spcBef>
                  <a:spcPts val="600"/>
                </a:spcBef>
                <a:buFont typeface="Arial" panose="020B0604020202020204" pitchFamily="34" charset="0"/>
                <a:buChar char="•"/>
              </a:pPr>
              <a:r>
                <a:rPr lang="en-US" sz="1200" dirty="0"/>
                <a:t>Update on security conditions</a:t>
              </a:r>
            </a:p>
            <a:p>
              <a:pPr marL="285750" indent="-120650">
                <a:spcBef>
                  <a:spcPts val="600"/>
                </a:spcBef>
                <a:buFont typeface="Arial" panose="020B0604020202020204" pitchFamily="34" charset="0"/>
                <a:buChar char="•"/>
              </a:pPr>
              <a:r>
                <a:rPr lang="en-US" sz="1200" dirty="0"/>
                <a:t>Update on threat actors</a:t>
              </a:r>
            </a:p>
          </p:txBody>
        </p:sp>
        <p:sp>
          <p:nvSpPr>
            <p:cNvPr id="8" name="Rectangle 7">
              <a:extLst>
                <a:ext uri="{FF2B5EF4-FFF2-40B4-BE49-F238E27FC236}">
                  <a16:creationId xmlns:a16="http://schemas.microsoft.com/office/drawing/2014/main" id="{6DB2890E-2586-4A3C-9286-472BA80A4F57}"/>
                </a:ext>
              </a:extLst>
            </p:cNvPr>
            <p:cNvSpPr/>
            <p:nvPr/>
          </p:nvSpPr>
          <p:spPr>
            <a:xfrm>
              <a:off x="585044" y="855567"/>
              <a:ext cx="5491692" cy="5745594"/>
            </a:xfrm>
            <a:prstGeom prst="rect">
              <a:avLst/>
            </a:prstGeom>
            <a:solidFill>
              <a:schemeClr val="bg1">
                <a:lumMod val="85000"/>
                <a:alpha val="94000"/>
              </a:schemeClr>
            </a:solidFill>
            <a:ln>
              <a:noFill/>
            </a:ln>
            <a:effectLst>
              <a:outerShdw blurRad="127000" dist="114300" dir="78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B108DFE6-8D9D-4F76-B3AB-75A8E166B576}"/>
                </a:ext>
              </a:extLst>
            </p:cNvPr>
            <p:cNvSpPr txBox="1"/>
            <p:nvPr/>
          </p:nvSpPr>
          <p:spPr>
            <a:xfrm>
              <a:off x="585043" y="865045"/>
              <a:ext cx="5491692" cy="5940088"/>
            </a:xfrm>
            <a:prstGeom prst="rect">
              <a:avLst/>
            </a:prstGeom>
            <a:noFill/>
          </p:spPr>
          <p:txBody>
            <a:bodyPr wrap="square" rtlCol="0">
              <a:spAutoFit/>
            </a:bodyPr>
            <a:lstStyle/>
            <a:p>
              <a:pPr>
                <a:spcBef>
                  <a:spcPts val="600"/>
                </a:spcBef>
              </a:pPr>
              <a:r>
                <a:rPr lang="en-US" sz="1400" b="1" dirty="0">
                  <a:solidFill>
                    <a:schemeClr val="tx2"/>
                  </a:solidFill>
                </a:rPr>
                <a:t>1. Pre-Deployment actions:</a:t>
              </a:r>
            </a:p>
            <a:p>
              <a:pPr marL="285750" indent="-120650">
                <a:spcBef>
                  <a:spcPts val="600"/>
                </a:spcBef>
                <a:buFont typeface="Arial" panose="020B0604020202020204" pitchFamily="34" charset="0"/>
                <a:buChar char="•"/>
              </a:pPr>
              <a:r>
                <a:rPr lang="en-US" sz="1200" dirty="0"/>
                <a:t>Conduct Security Risk Assessment of location to be visited.</a:t>
              </a:r>
            </a:p>
            <a:p>
              <a:pPr marL="285750" indent="-120650">
                <a:spcBef>
                  <a:spcPts val="600"/>
                </a:spcBef>
                <a:buFont typeface="Arial" panose="020B0604020202020204" pitchFamily="34" charset="0"/>
                <a:buChar char="•"/>
              </a:pPr>
              <a:r>
                <a:rPr lang="en-US" sz="1200" dirty="0"/>
                <a:t>Identify the risks, assess the risks, treat the risks.</a:t>
              </a:r>
            </a:p>
            <a:p>
              <a:pPr marL="285750" indent="-120650">
                <a:spcBef>
                  <a:spcPts val="600"/>
                </a:spcBef>
                <a:buFont typeface="Arial" panose="020B0604020202020204" pitchFamily="34" charset="0"/>
                <a:buChar char="•"/>
              </a:pPr>
              <a:r>
                <a:rPr lang="en-US" sz="1200" dirty="0"/>
                <a:t>Risk assess the route, plan alternative routes, identify safe havens and choke points.</a:t>
              </a:r>
            </a:p>
            <a:p>
              <a:pPr marL="285750" indent="-120650">
                <a:spcBef>
                  <a:spcPts val="600"/>
                </a:spcBef>
                <a:buFont typeface="Arial" panose="020B0604020202020204" pitchFamily="34" charset="0"/>
                <a:buChar char="•"/>
              </a:pPr>
              <a:r>
                <a:rPr lang="en-US" sz="1200" dirty="0"/>
                <a:t>Conduct vehicle first parade service.</a:t>
              </a:r>
            </a:p>
            <a:p>
              <a:pPr marL="285750" indent="-120650">
                <a:spcBef>
                  <a:spcPts val="600"/>
                </a:spcBef>
                <a:buFont typeface="Arial" panose="020B0604020202020204" pitchFamily="34" charset="0"/>
                <a:buChar char="•"/>
              </a:pPr>
              <a:r>
                <a:rPr lang="en-US" sz="1200" dirty="0"/>
                <a:t>Ensure driver is fit and healthy. </a:t>
              </a:r>
            </a:p>
            <a:p>
              <a:pPr marL="285750" indent="-120650">
                <a:spcBef>
                  <a:spcPts val="600"/>
                </a:spcBef>
                <a:buFont typeface="Arial" panose="020B0604020202020204" pitchFamily="34" charset="0"/>
                <a:buChar char="•"/>
              </a:pPr>
              <a:r>
                <a:rPr lang="en-US" sz="1200" dirty="0"/>
                <a:t>Ensure MOPOL are included in the pre-deployment security briefing.</a:t>
              </a:r>
            </a:p>
            <a:p>
              <a:pPr marL="285750" indent="-120650">
                <a:spcBef>
                  <a:spcPts val="600"/>
                </a:spcBef>
                <a:buFont typeface="Arial" panose="020B0604020202020204" pitchFamily="34" charset="0"/>
                <a:buChar char="•"/>
              </a:pPr>
              <a:r>
                <a:rPr lang="en-US" sz="1200" dirty="0"/>
                <a:t>Rehearse the team deploying to field on the following Actions-ON : Road Traffic Accident, Illness, Vehicle Breakdown, IVCP, Military Check Points, Armed Aggressor during road move and during the field visit.</a:t>
              </a:r>
            </a:p>
            <a:p>
              <a:pPr marL="285750" indent="-120650">
                <a:spcBef>
                  <a:spcPts val="600"/>
                </a:spcBef>
                <a:buFont typeface="Arial" panose="020B0604020202020204" pitchFamily="34" charset="0"/>
                <a:buChar char="•"/>
              </a:pPr>
              <a:r>
                <a:rPr lang="en-US" sz="1200" dirty="0"/>
                <a:t>Ensure MOPOL are included in all rehearsals with team (if used).</a:t>
              </a:r>
            </a:p>
            <a:p>
              <a:pPr marL="285750" indent="-120650">
                <a:spcBef>
                  <a:spcPts val="600"/>
                </a:spcBef>
                <a:buFont typeface="Arial" panose="020B0604020202020204" pitchFamily="34" charset="0"/>
                <a:buChar char="•"/>
              </a:pPr>
              <a:r>
                <a:rPr lang="en-US" sz="1200" dirty="0"/>
                <a:t>Do not wear branded clothing.</a:t>
              </a:r>
            </a:p>
            <a:p>
              <a:pPr marL="285750" indent="-120650">
                <a:spcBef>
                  <a:spcPts val="600"/>
                </a:spcBef>
                <a:buFont typeface="Arial" panose="020B0604020202020204" pitchFamily="34" charset="0"/>
                <a:buChar char="•"/>
              </a:pPr>
              <a:r>
                <a:rPr lang="en-US" sz="1200" dirty="0"/>
                <a:t>Remove branding and logos from vehicles.</a:t>
              </a:r>
            </a:p>
            <a:p>
              <a:endParaRPr lang="en-US" sz="600" b="1" dirty="0">
                <a:solidFill>
                  <a:srgbClr val="FF0000"/>
                </a:solidFill>
              </a:endParaRPr>
            </a:p>
            <a:p>
              <a:r>
                <a:rPr lang="en-US" sz="1400" b="1" dirty="0">
                  <a:solidFill>
                    <a:schemeClr val="tx2"/>
                  </a:solidFill>
                </a:rPr>
                <a:t>2. Consider the following</a:t>
              </a:r>
              <a:r>
                <a:rPr lang="en-US" sz="1400" dirty="0">
                  <a:solidFill>
                    <a:schemeClr val="tx2"/>
                  </a:solidFill>
                </a:rPr>
                <a:t>:</a:t>
              </a:r>
            </a:p>
            <a:p>
              <a:pPr marL="285750" indent="-120650">
                <a:spcBef>
                  <a:spcPts val="600"/>
                </a:spcBef>
                <a:buFont typeface="Arial" panose="020B0604020202020204" pitchFamily="34" charset="0"/>
                <a:buChar char="•"/>
              </a:pPr>
              <a:r>
                <a:rPr lang="en-US" sz="1200" dirty="0"/>
                <a:t>Maintain situational awareness.</a:t>
              </a:r>
            </a:p>
            <a:p>
              <a:pPr marL="285750" indent="-120650">
                <a:spcBef>
                  <a:spcPts val="600"/>
                </a:spcBef>
                <a:buFont typeface="Arial" panose="020B0604020202020204" pitchFamily="34" charset="0"/>
                <a:buChar char="•"/>
              </a:pPr>
              <a:r>
                <a:rPr lang="en-US" sz="1200" dirty="0"/>
                <a:t>Route variance.</a:t>
              </a:r>
            </a:p>
            <a:p>
              <a:pPr marL="285750" indent="-120650">
                <a:spcBef>
                  <a:spcPts val="600"/>
                </a:spcBef>
                <a:buFont typeface="Arial" panose="020B0604020202020204" pitchFamily="34" charset="0"/>
                <a:buChar char="•"/>
              </a:pPr>
              <a:r>
                <a:rPr lang="en-US" sz="1200" dirty="0"/>
                <a:t>Stagger arrival, departure and camp exit/entry times.</a:t>
              </a:r>
            </a:p>
            <a:p>
              <a:pPr marL="285750" indent="-120650">
                <a:spcBef>
                  <a:spcPts val="600"/>
                </a:spcBef>
                <a:buFont typeface="Arial" panose="020B0604020202020204" pitchFamily="34" charset="0"/>
                <a:buChar char="•"/>
              </a:pPr>
              <a:r>
                <a:rPr lang="en-US" sz="1200" dirty="0"/>
                <a:t>Do not establish a pattern or routine.</a:t>
              </a:r>
            </a:p>
            <a:p>
              <a:pPr marL="285750" indent="-120650">
                <a:spcBef>
                  <a:spcPts val="600"/>
                </a:spcBef>
                <a:buFont typeface="Arial" panose="020B0604020202020204" pitchFamily="34" charset="0"/>
                <a:buChar char="•"/>
              </a:pPr>
              <a:r>
                <a:rPr lang="en-US" sz="1200" dirty="0"/>
                <a:t>Avoid choke points during road moves.</a:t>
              </a:r>
            </a:p>
            <a:p>
              <a:pPr marL="285750" indent="-120650">
                <a:spcBef>
                  <a:spcPts val="600"/>
                </a:spcBef>
                <a:buFont typeface="Arial" panose="020B0604020202020204" pitchFamily="34" charset="0"/>
                <a:buChar char="•"/>
              </a:pPr>
              <a:r>
                <a:rPr lang="en-US" sz="1200" dirty="0"/>
                <a:t>Consider: The absence of the normal – The presence of the abnormal.</a:t>
              </a:r>
            </a:p>
            <a:p>
              <a:pPr marL="285750" indent="-120650">
                <a:spcBef>
                  <a:spcPts val="600"/>
                </a:spcBef>
                <a:buFont typeface="Arial" panose="020B0604020202020204" pitchFamily="34" charset="0"/>
                <a:buChar char="•"/>
              </a:pPr>
              <a:r>
                <a:rPr lang="en-US" sz="1200" dirty="0"/>
                <a:t>Consider Hostile Reconnaissance.</a:t>
              </a:r>
            </a:p>
            <a:p>
              <a:pPr marL="285750" indent="-120650">
                <a:spcBef>
                  <a:spcPts val="600"/>
                </a:spcBef>
                <a:buFont typeface="Arial" panose="020B0604020202020204" pitchFamily="34" charset="0"/>
                <a:buChar char="•"/>
              </a:pPr>
              <a:r>
                <a:rPr lang="en-US" sz="1200" dirty="0"/>
                <a:t>Consider: Can travel be avoided?</a:t>
              </a:r>
            </a:p>
            <a:p>
              <a:pPr marL="285750" indent="-285750">
                <a:buFont typeface="Arial" panose="020B0604020202020204" pitchFamily="34" charset="0"/>
                <a:buChar char="•"/>
              </a:pPr>
              <a:endParaRPr lang="en-US" sz="1600" dirty="0"/>
            </a:p>
          </p:txBody>
        </p:sp>
      </p:grpSp>
      <p:pic>
        <p:nvPicPr>
          <p:cNvPr id="14" name="Picture 13">
            <a:extLst>
              <a:ext uri="{FF2B5EF4-FFF2-40B4-BE49-F238E27FC236}">
                <a16:creationId xmlns:a16="http://schemas.microsoft.com/office/drawing/2014/main" id="{CDE613CF-B623-4E15-A231-3D651690A1B2}"/>
              </a:ext>
            </a:extLst>
          </p:cNvPr>
          <p:cNvPicPr>
            <a:picLocks noChangeAspect="1"/>
          </p:cNvPicPr>
          <p:nvPr/>
        </p:nvPicPr>
        <p:blipFill>
          <a:blip r:embed="rId3"/>
          <a:srcRect/>
          <a:stretch/>
        </p:blipFill>
        <p:spPr>
          <a:xfrm>
            <a:off x="10376033" y="279672"/>
            <a:ext cx="1480466" cy="404539"/>
          </a:xfrm>
          <a:prstGeom prst="rect">
            <a:avLst/>
          </a:prstGeom>
        </p:spPr>
      </p:pic>
    </p:spTree>
    <p:extLst>
      <p:ext uri="{BB962C8B-B14F-4D97-AF65-F5344CB8AC3E}">
        <p14:creationId xmlns:p14="http://schemas.microsoft.com/office/powerpoint/2010/main" val="1850021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IFHsabZWnUy0OK3To0Fa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IFHsabZWnUy0OK3To0Fa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IFHsabZWnUy0OK3To0Fa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IFHsabZWnUy0OK3To0Fa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IFHsabZWnUy0OK3To0Faz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3-Template_12.7.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8fdde7d-b351-4a17-8181-178d5c0c714c" xsi:nil="true"/>
    <lcf76f155ced4ddcb4097134ff3c332f xmlns="026d23dc-ca55-42f8-acbc-5658addcfdac">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5E9DC33C5C448418395366F35CB90ED" ma:contentTypeVersion="18" ma:contentTypeDescription="Create a new document." ma:contentTypeScope="" ma:versionID="634623395714e0516783569a3f6588f0">
  <xsd:schema xmlns:xsd="http://www.w3.org/2001/XMLSchema" xmlns:xs="http://www.w3.org/2001/XMLSchema" xmlns:p="http://schemas.microsoft.com/office/2006/metadata/properties" xmlns:ns2="026d23dc-ca55-42f8-acbc-5658addcfdac" xmlns:ns3="48fdde7d-b351-4a17-8181-178d5c0c714c" targetNamespace="http://schemas.microsoft.com/office/2006/metadata/properties" ma:root="true" ma:fieldsID="4bfd7ff96581e6398b5f06836b0216f8" ns2:_="" ns3:_="">
    <xsd:import namespace="026d23dc-ca55-42f8-acbc-5658addcfdac"/>
    <xsd:import namespace="48fdde7d-b351-4a17-8181-178d5c0c714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6d23dc-ca55-42f8-acbc-5658addcfd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59c898a-43bf-4b98-a9b6-570a6b46013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8fdde7d-b351-4a17-8181-178d5c0c714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497278c-0463-4e34-8db6-ed4ac254ab3c}" ma:internalName="TaxCatchAll" ma:showField="CatchAllData" ma:web="48fdde7d-b351-4a17-8181-178d5c0c71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41ECE1-B8C9-4CD8-8035-1F1DCF45D3F0}">
  <ds:schemaRefs>
    <ds:schemaRef ds:uri="026d23dc-ca55-42f8-acbc-5658addcfdac"/>
    <ds:schemaRef ds:uri="48fdde7d-b351-4a17-8181-178d5c0c714c"/>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9DCED4F-99C2-4DC9-A3DF-F9F44478F457}">
  <ds:schemaRefs>
    <ds:schemaRef ds:uri="http://schemas.microsoft.com/sharepoint/v3/contenttype/forms"/>
  </ds:schemaRefs>
</ds:datastoreItem>
</file>

<file path=customXml/itemProps3.xml><?xml version="1.0" encoding="utf-8"?>
<ds:datastoreItem xmlns:ds="http://schemas.openxmlformats.org/officeDocument/2006/customXml" ds:itemID="{786D0D19-6A26-4A8B-953F-5E78E788B5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6d23dc-ca55-42f8-acbc-5658addcfdac"/>
    <ds:schemaRef ds:uri="48fdde7d-b351-4a17-8181-178d5c0c71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28</TotalTime>
  <Words>1653</Words>
  <Application>Microsoft Office PowerPoint</Application>
  <PresentationFormat>Widescreen</PresentationFormat>
  <Paragraphs>283</Paragraphs>
  <Slides>11</Slides>
  <Notes>10</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1</vt:i4>
      </vt:variant>
    </vt:vector>
  </HeadingPairs>
  <TitlesOfParts>
    <vt:vector size="19" baseType="lpstr">
      <vt:lpstr>Arial</vt:lpstr>
      <vt:lpstr>Arial Nova Cond Light</vt:lpstr>
      <vt:lpstr>Calibri</vt:lpstr>
      <vt:lpstr>Calibri Light</vt:lpstr>
      <vt:lpstr>Franklin Gothic Medium Cond</vt:lpstr>
      <vt:lpstr>Gill Sans MT</vt:lpstr>
      <vt:lpstr>Office Theme</vt:lpstr>
      <vt:lpstr>4.3-Template_12.7.2016</vt:lpstr>
      <vt:lpstr>PowerPoint Presentation</vt:lpstr>
      <vt:lpstr>PowerPoint Presentation</vt:lpstr>
      <vt:lpstr>Nationwide Trend Analysis: Armed Conflict</vt:lpstr>
      <vt:lpstr>Nationwide Trend Analysis: Kidnapping</vt:lpstr>
      <vt:lpstr>Nationwide Trend Analysis: IED Frequency and Fatalities</vt:lpstr>
      <vt:lpstr>Primary Threat Actors: 15 worst-affected LGAs</vt:lpstr>
      <vt:lpstr>PowerPoint Presentation</vt:lpstr>
      <vt:lpstr>PLSO | Forecast of Events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blyth</dc:creator>
  <cp:lastModifiedBy>Malcolm McNally</cp:lastModifiedBy>
  <cp:revision>5</cp:revision>
  <dcterms:created xsi:type="dcterms:W3CDTF">2021-08-12T12:17:12Z</dcterms:created>
  <dcterms:modified xsi:type="dcterms:W3CDTF">2024-01-30T12:4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E9DC33C5C448418395366F35CB90ED</vt:lpwstr>
  </property>
  <property fmtid="{D5CDD505-2E9C-101B-9397-08002B2CF9AE}" pid="3" name="Order">
    <vt:r8>2563000</vt:r8>
  </property>
  <property fmtid="{D5CDD505-2E9C-101B-9397-08002B2CF9AE}" pid="4" name="MediaServiceImageTags">
    <vt:lpwstr/>
  </property>
</Properties>
</file>